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6" r:id="rId1"/>
    <p:sldMasterId id="2147483708" r:id="rId2"/>
    <p:sldMasterId id="2147483680" r:id="rId3"/>
    <p:sldMasterId id="2147483694" r:id="rId4"/>
  </p:sldMasterIdLst>
  <p:notesMasterIdLst>
    <p:notesMasterId r:id="rId18"/>
  </p:notesMasterIdLst>
  <p:handoutMasterIdLst>
    <p:handoutMasterId r:id="rId19"/>
  </p:handoutMasterIdLst>
  <p:sldIdLst>
    <p:sldId id="308" r:id="rId5"/>
    <p:sldId id="304" r:id="rId6"/>
    <p:sldId id="306" r:id="rId7"/>
    <p:sldId id="320" r:id="rId8"/>
    <p:sldId id="319" r:id="rId9"/>
    <p:sldId id="316" r:id="rId10"/>
    <p:sldId id="315" r:id="rId11"/>
    <p:sldId id="314" r:id="rId12"/>
    <p:sldId id="317" r:id="rId13"/>
    <p:sldId id="318" r:id="rId14"/>
    <p:sldId id="311" r:id="rId15"/>
    <p:sldId id="271" r:id="rId16"/>
    <p:sldId id="297" r:id="rId17"/>
  </p:sldIdLst>
  <p:sldSz cx="10691813" cy="7559675"/>
  <p:notesSz cx="7315200" cy="9601200"/>
  <p:custDataLst>
    <p:tags r:id="rId20"/>
  </p:custDataLst>
  <p:defaultTextStyle>
    <a:defPPr>
      <a:defRPr lang="en-US"/>
    </a:defPPr>
    <a:lvl1pPr marL="0" algn="l" defTabSz="995507" rtl="0" eaLnBrk="1" latinLnBrk="0" hangingPunct="1">
      <a:defRPr sz="1960" kern="1200">
        <a:solidFill>
          <a:schemeClr val="tx1"/>
        </a:solidFill>
        <a:latin typeface="+mn-lt"/>
        <a:ea typeface="+mn-ea"/>
        <a:cs typeface="+mn-cs"/>
      </a:defRPr>
    </a:lvl1pPr>
    <a:lvl2pPr marL="497754" algn="l" defTabSz="995507" rtl="0" eaLnBrk="1" latinLnBrk="0" hangingPunct="1">
      <a:defRPr sz="1960" kern="1200">
        <a:solidFill>
          <a:schemeClr val="tx1"/>
        </a:solidFill>
        <a:latin typeface="+mn-lt"/>
        <a:ea typeface="+mn-ea"/>
        <a:cs typeface="+mn-cs"/>
      </a:defRPr>
    </a:lvl2pPr>
    <a:lvl3pPr marL="995507" algn="l" defTabSz="995507" rtl="0" eaLnBrk="1" latinLnBrk="0" hangingPunct="1">
      <a:defRPr sz="1960" kern="1200">
        <a:solidFill>
          <a:schemeClr val="tx1"/>
        </a:solidFill>
        <a:latin typeface="+mn-lt"/>
        <a:ea typeface="+mn-ea"/>
        <a:cs typeface="+mn-cs"/>
      </a:defRPr>
    </a:lvl3pPr>
    <a:lvl4pPr marL="1493261" algn="l" defTabSz="995507" rtl="0" eaLnBrk="1" latinLnBrk="0" hangingPunct="1">
      <a:defRPr sz="1960" kern="1200">
        <a:solidFill>
          <a:schemeClr val="tx1"/>
        </a:solidFill>
        <a:latin typeface="+mn-lt"/>
        <a:ea typeface="+mn-ea"/>
        <a:cs typeface="+mn-cs"/>
      </a:defRPr>
    </a:lvl4pPr>
    <a:lvl5pPr marL="1991015" algn="l" defTabSz="995507" rtl="0" eaLnBrk="1" latinLnBrk="0" hangingPunct="1">
      <a:defRPr sz="1960" kern="1200">
        <a:solidFill>
          <a:schemeClr val="tx1"/>
        </a:solidFill>
        <a:latin typeface="+mn-lt"/>
        <a:ea typeface="+mn-ea"/>
        <a:cs typeface="+mn-cs"/>
      </a:defRPr>
    </a:lvl5pPr>
    <a:lvl6pPr marL="2488768" algn="l" defTabSz="995507" rtl="0" eaLnBrk="1" latinLnBrk="0" hangingPunct="1">
      <a:defRPr sz="1960" kern="1200">
        <a:solidFill>
          <a:schemeClr val="tx1"/>
        </a:solidFill>
        <a:latin typeface="+mn-lt"/>
        <a:ea typeface="+mn-ea"/>
        <a:cs typeface="+mn-cs"/>
      </a:defRPr>
    </a:lvl6pPr>
    <a:lvl7pPr marL="2986522" algn="l" defTabSz="995507" rtl="0" eaLnBrk="1" latinLnBrk="0" hangingPunct="1">
      <a:defRPr sz="1960" kern="1200">
        <a:solidFill>
          <a:schemeClr val="tx1"/>
        </a:solidFill>
        <a:latin typeface="+mn-lt"/>
        <a:ea typeface="+mn-ea"/>
        <a:cs typeface="+mn-cs"/>
      </a:defRPr>
    </a:lvl7pPr>
    <a:lvl8pPr marL="3484275" algn="l" defTabSz="995507" rtl="0" eaLnBrk="1" latinLnBrk="0" hangingPunct="1">
      <a:defRPr sz="1960" kern="1200">
        <a:solidFill>
          <a:schemeClr val="tx1"/>
        </a:solidFill>
        <a:latin typeface="+mn-lt"/>
        <a:ea typeface="+mn-ea"/>
        <a:cs typeface="+mn-cs"/>
      </a:defRPr>
    </a:lvl8pPr>
    <a:lvl9pPr marL="3982029" algn="l" defTabSz="995507" rtl="0" eaLnBrk="1" latinLnBrk="0" hangingPunct="1">
      <a:defRPr sz="196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B8611544-D0C3-4823-9B32-7DECFA40A80E}">
          <p14:sldIdLst>
            <p14:sldId id="308"/>
            <p14:sldId id="304"/>
            <p14:sldId id="306"/>
            <p14:sldId id="320"/>
            <p14:sldId id="319"/>
            <p14:sldId id="316"/>
            <p14:sldId id="315"/>
            <p14:sldId id="314"/>
            <p14:sldId id="317"/>
            <p14:sldId id="318"/>
            <p14:sldId id="311"/>
            <p14:sldId id="271"/>
            <p14:sldId id="297"/>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E600"/>
    <a:srgbClr val="404040"/>
    <a:srgbClr val="FF00FF"/>
    <a:srgbClr val="FFFFFF"/>
    <a:srgbClr val="FFD200"/>
    <a:srgbClr val="FFE600"/>
    <a:srgbClr val="000000"/>
    <a:srgbClr val="FF0090"/>
    <a:srgbClr val="FF0066"/>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5695" autoAdjust="0"/>
  </p:normalViewPr>
  <p:slideViewPr>
    <p:cSldViewPr snapToObjects="1" showGuides="1">
      <p:cViewPr varScale="1">
        <p:scale>
          <a:sx n="58" d="100"/>
          <a:sy n="58" d="100"/>
        </p:scale>
        <p:origin x="1877" y="5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Objects="1" showGuides="1">
      <p:cViewPr>
        <p:scale>
          <a:sx n="200" d="100"/>
          <a:sy n="200" d="100"/>
        </p:scale>
        <p:origin x="-1020" y="2742"/>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19/03/2018</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Nr.›</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19/03/2018</a:t>
            </a:fld>
            <a:endParaRPr lang="en-GB" dirty="0"/>
          </a:p>
        </p:txBody>
      </p:sp>
      <p:sp>
        <p:nvSpPr>
          <p:cNvPr id="4" name="Slide Image Placeholder 3"/>
          <p:cNvSpPr>
            <a:spLocks noGrp="1" noRot="1" noChangeAspect="1"/>
          </p:cNvSpPr>
          <p:nvPr>
            <p:ph type="sldImg" idx="2"/>
          </p:nvPr>
        </p:nvSpPr>
        <p:spPr>
          <a:xfrm>
            <a:off x="1111250" y="720725"/>
            <a:ext cx="5092700"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Nr.›</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95507" rtl="0" eaLnBrk="1" latinLnBrk="0" hangingPunct="1">
      <a:defRPr sz="1306" kern="1200">
        <a:solidFill>
          <a:schemeClr val="tx1"/>
        </a:solidFill>
        <a:latin typeface="Arial" pitchFamily="34" charset="0"/>
        <a:ea typeface="+mn-ea"/>
        <a:cs typeface="+mn-cs"/>
      </a:defRPr>
    </a:lvl1pPr>
    <a:lvl2pPr marL="497754" algn="l" defTabSz="995507" rtl="0" eaLnBrk="1" latinLnBrk="0" hangingPunct="1">
      <a:defRPr sz="1306" kern="1200">
        <a:solidFill>
          <a:schemeClr val="tx1"/>
        </a:solidFill>
        <a:latin typeface="Arial" pitchFamily="34" charset="0"/>
        <a:ea typeface="+mn-ea"/>
        <a:cs typeface="+mn-cs"/>
      </a:defRPr>
    </a:lvl2pPr>
    <a:lvl3pPr marL="995507" algn="l" defTabSz="995507" rtl="0" eaLnBrk="1" latinLnBrk="0" hangingPunct="1">
      <a:defRPr sz="1306" kern="1200">
        <a:solidFill>
          <a:schemeClr val="tx1"/>
        </a:solidFill>
        <a:latin typeface="Arial" pitchFamily="34" charset="0"/>
        <a:ea typeface="+mn-ea"/>
        <a:cs typeface="+mn-cs"/>
      </a:defRPr>
    </a:lvl3pPr>
    <a:lvl4pPr marL="1493261" algn="l" defTabSz="995507" rtl="0" eaLnBrk="1" latinLnBrk="0" hangingPunct="1">
      <a:defRPr sz="1306" kern="1200">
        <a:solidFill>
          <a:schemeClr val="tx1"/>
        </a:solidFill>
        <a:latin typeface="Arial" pitchFamily="34" charset="0"/>
        <a:ea typeface="+mn-ea"/>
        <a:cs typeface="+mn-cs"/>
      </a:defRPr>
    </a:lvl4pPr>
    <a:lvl5pPr marL="1991015" algn="l" defTabSz="995507" rtl="0" eaLnBrk="1" latinLnBrk="0" hangingPunct="1">
      <a:defRPr sz="1306" kern="1200">
        <a:solidFill>
          <a:schemeClr val="tx1"/>
        </a:solidFill>
        <a:latin typeface="Arial" pitchFamily="34" charset="0"/>
        <a:ea typeface="+mn-ea"/>
        <a:cs typeface="+mn-cs"/>
      </a:defRPr>
    </a:lvl5pPr>
    <a:lvl6pPr marL="2488768" algn="l" defTabSz="995507" rtl="0" eaLnBrk="1" latinLnBrk="0" hangingPunct="1">
      <a:defRPr sz="1306" kern="1200">
        <a:solidFill>
          <a:schemeClr val="tx1"/>
        </a:solidFill>
        <a:latin typeface="+mn-lt"/>
        <a:ea typeface="+mn-ea"/>
        <a:cs typeface="+mn-cs"/>
      </a:defRPr>
    </a:lvl6pPr>
    <a:lvl7pPr marL="2986522" algn="l" defTabSz="995507" rtl="0" eaLnBrk="1" latinLnBrk="0" hangingPunct="1">
      <a:defRPr sz="1306" kern="1200">
        <a:solidFill>
          <a:schemeClr val="tx1"/>
        </a:solidFill>
        <a:latin typeface="+mn-lt"/>
        <a:ea typeface="+mn-ea"/>
        <a:cs typeface="+mn-cs"/>
      </a:defRPr>
    </a:lvl7pPr>
    <a:lvl8pPr marL="3484275" algn="l" defTabSz="995507" rtl="0" eaLnBrk="1" latinLnBrk="0" hangingPunct="1">
      <a:defRPr sz="1306" kern="1200">
        <a:solidFill>
          <a:schemeClr val="tx1"/>
        </a:solidFill>
        <a:latin typeface="+mn-lt"/>
        <a:ea typeface="+mn-ea"/>
        <a:cs typeface="+mn-cs"/>
      </a:defRPr>
    </a:lvl8pPr>
    <a:lvl9pPr marL="3982029" algn="l" defTabSz="995507" rtl="0" eaLnBrk="1" latinLnBrk="0" hangingPunct="1">
      <a:defRPr sz="130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sz="1306" kern="1200" dirty="0">
              <a:solidFill>
                <a:schemeClr val="tx1"/>
              </a:solidFill>
              <a:effectLst/>
              <a:latin typeface="Arial" pitchFamily="34" charset="0"/>
              <a:ea typeface="+mn-ea"/>
              <a:cs typeface="+mn-cs"/>
            </a:endParaRPr>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4222653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CH" dirty="0"/>
              <a:t>Ist es etwas relevantes: JA</a:t>
            </a:r>
            <a:r>
              <a:rPr lang="de-CH" baseline="0" dirty="0"/>
              <a:t> , fast täglich in der Presse</a:t>
            </a:r>
          </a:p>
          <a:p>
            <a:r>
              <a:rPr lang="de-CH" baseline="0" dirty="0"/>
              <a:t>Was treibt es an: wir haben verschiedene Treiber besprochen und der Ausblick im heutigen Umfeld zeigt wohl, dass es weitere Transaktionen geben wird </a:t>
            </a:r>
          </a:p>
          <a:p>
            <a:r>
              <a:rPr lang="de-CH" baseline="0" dirty="0"/>
              <a:t>Aber:  </a:t>
            </a:r>
            <a:r>
              <a:rPr lang="de-CH" baseline="0" dirty="0" err="1"/>
              <a:t>Beobachtugen</a:t>
            </a:r>
            <a:r>
              <a:rPr lang="de-CH" baseline="0" dirty="0"/>
              <a:t> zeigen, dass der Prozess sehr viel harte Arbeit und Vorbereitung benötigt, weil das Risiko einer Fehleinschätzung sehr teuer kommt.  </a:t>
            </a:r>
          </a:p>
          <a:p>
            <a:endParaRPr lang="de-CH" baseline="0" dirty="0"/>
          </a:p>
          <a:p>
            <a:endParaRPr lang="de-CH"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8301852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1250" y="720725"/>
            <a:ext cx="5092700" cy="3600450"/>
          </a:xfrm>
        </p:spPr>
      </p:sp>
      <p:sp>
        <p:nvSpPr>
          <p:cNvPr id="3" name="Notes Placeholder 2"/>
          <p:cNvSpPr>
            <a:spLocks noGrp="1"/>
          </p:cNvSpPr>
          <p:nvPr>
            <p:ph type="body" idx="1"/>
          </p:nvPr>
        </p:nvSpPr>
        <p:spPr/>
        <p:txBody>
          <a:bodyPr>
            <a:normAutofit/>
          </a:bodyPr>
          <a:lstStyle/>
          <a:p>
            <a:r>
              <a:rPr lang="en-US" dirty="0"/>
              <a:t>You may replace the photo</a:t>
            </a:r>
            <a:r>
              <a:rPr lang="en-US" baseline="0" dirty="0"/>
              <a:t> in this divider slide. </a:t>
            </a:r>
            <a:r>
              <a:rPr lang="en-GB" sz="1300" dirty="0"/>
              <a:t>When choosing an image, follow the principles on </a:t>
            </a:r>
            <a:r>
              <a:rPr lang="en-GB" sz="1300" i="1" dirty="0"/>
              <a:t>The Branding Zone</a:t>
            </a:r>
            <a:r>
              <a:rPr lang="en-GB" sz="1300" dirty="0"/>
              <a:t>. </a:t>
            </a:r>
            <a:br>
              <a:rPr lang="en-GB" sz="1300" dirty="0"/>
            </a:br>
            <a:r>
              <a:rPr lang="en-US" baseline="0" dirty="0"/>
              <a:t>To change the image:</a:t>
            </a:r>
            <a:br>
              <a:rPr lang="en-US" baseline="0" dirty="0"/>
            </a:br>
            <a:r>
              <a:rPr lang="en-US" sz="1300" dirty="0"/>
              <a:t>Select the </a:t>
            </a:r>
            <a:r>
              <a:rPr lang="en-US" sz="1300" b="1" dirty="0"/>
              <a:t>View</a:t>
            </a:r>
            <a:r>
              <a:rPr lang="en-US" sz="1300" dirty="0"/>
              <a:t> tab then choose the </a:t>
            </a:r>
            <a:r>
              <a:rPr lang="en-US" sz="1300" b="1" dirty="0"/>
              <a:t>Slide Master </a:t>
            </a:r>
            <a:r>
              <a:rPr lang="en-US" sz="1300" dirty="0"/>
              <a:t>containing the layout you want to edit. Select the angled box and right-click on it to bring up the menu. Select </a:t>
            </a:r>
            <a:r>
              <a:rPr lang="en-US" sz="1300" b="1" dirty="0"/>
              <a:t>Format Picture. </a:t>
            </a:r>
            <a:r>
              <a:rPr lang="en-US" sz="1300" dirty="0"/>
              <a:t>Under Fill select </a:t>
            </a:r>
            <a:r>
              <a:rPr lang="en-US" sz="1300" b="1" dirty="0"/>
              <a:t>Picture or texture fill.</a:t>
            </a:r>
            <a:r>
              <a:rPr lang="en-US" sz="1300" dirty="0"/>
              <a:t> Click </a:t>
            </a:r>
            <a:r>
              <a:rPr lang="en-US" sz="1300" b="1" dirty="0"/>
              <a:t>Insert from&gt;File</a:t>
            </a:r>
            <a:r>
              <a:rPr lang="en-US" sz="1300" dirty="0"/>
              <a:t>. Navigate to where you have saved the image and insert it.</a:t>
            </a:r>
          </a:p>
          <a:p>
            <a:endParaRPr lang="en-US" sz="1300" dirty="0"/>
          </a:p>
          <a:p>
            <a:endParaRPr lang="en-US" dirty="0"/>
          </a:p>
          <a:p>
            <a:endParaRPr lang="en-US"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2</a:t>
            </a:fld>
            <a:endParaRPr lang="en-GB"/>
          </a:p>
        </p:txBody>
      </p:sp>
    </p:spTree>
    <p:extLst>
      <p:ext uri="{BB962C8B-B14F-4D97-AF65-F5344CB8AC3E}">
        <p14:creationId xmlns:p14="http://schemas.microsoft.com/office/powerpoint/2010/main" val="32552628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1264821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10301949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3469751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6008686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baseline="0" dirty="0"/>
          </a:p>
          <a:p>
            <a:endParaRPr lang="de-CH" baseline="0" dirty="0"/>
          </a:p>
          <a:p>
            <a:endParaRPr lang="de-CH"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2219245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baseline="0"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3055203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43953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030908" fontAlgn="auto">
              <a:lnSpc>
                <a:spcPct val="120000"/>
              </a:lnSpc>
              <a:spcBef>
                <a:spcPts val="600"/>
              </a:spcBef>
              <a:spcAft>
                <a:spcPts val="600"/>
              </a:spcAft>
              <a:buClr>
                <a:schemeClr val="accent2"/>
              </a:buClr>
              <a:buSzPct val="70000"/>
            </a:pPr>
            <a:r>
              <a:rPr lang="de-DE" sz="2800" b="1" dirty="0">
                <a:solidFill>
                  <a:srgbClr val="FAE600"/>
                </a:solidFill>
                <a:latin typeface="EYInterstate" pitchFamily="2" charset="0"/>
              </a:rPr>
              <a:t>47% </a:t>
            </a:r>
            <a:r>
              <a:rPr lang="de-DE" sz="1400" dirty="0">
                <a:solidFill>
                  <a:schemeClr val="bg1"/>
                </a:solidFill>
                <a:latin typeface="EYInterstate" pitchFamily="2" charset="0"/>
              </a:rPr>
              <a:t>der Führungskräfte der Zielunternehmen </a:t>
            </a:r>
            <a:r>
              <a:rPr lang="de-DE" sz="2800" b="1" dirty="0">
                <a:solidFill>
                  <a:srgbClr val="FAE600"/>
                </a:solidFill>
                <a:latin typeface="EYInterstate" pitchFamily="2" charset="0"/>
              </a:rPr>
              <a:t>verlassen</a:t>
            </a:r>
            <a:r>
              <a:rPr lang="de-DE" sz="1400" dirty="0">
                <a:solidFill>
                  <a:schemeClr val="bg1"/>
                </a:solidFill>
                <a:latin typeface="EYInterstate" pitchFamily="2" charset="0"/>
              </a:rPr>
              <a:t> die Firma im ersten Jahr – 75% innerhalb der folgenden drei Jahre</a:t>
            </a:r>
          </a:p>
        </p:txBody>
      </p:sp>
      <p:sp>
        <p:nvSpPr>
          <p:cNvPr id="4" name="Slide Number Placeholder 3"/>
          <p:cNvSpPr>
            <a:spLocks noGrp="1"/>
          </p:cNvSpPr>
          <p:nvPr>
            <p:ph type="sldNum" sz="quarter" idx="10"/>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20904309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w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wmf"/><Relationship Id="rId1" Type="http://schemas.openxmlformats.org/officeDocument/2006/relationships/slideMaster" Target="../slideMasters/slideMaster2.xml"/><Relationship Id="rId4" Type="http://schemas.openxmlformats.org/officeDocument/2006/relationships/image" Target="../media/image9.w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2.wmf"/><Relationship Id="rId1" Type="http://schemas.openxmlformats.org/officeDocument/2006/relationships/slideMaster" Target="../slideMasters/slideMaster2.xml"/><Relationship Id="rId4" Type="http://schemas.openxmlformats.org/officeDocument/2006/relationships/image" Target="../media/image9.w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wmf"/><Relationship Id="rId1" Type="http://schemas.openxmlformats.org/officeDocument/2006/relationships/slideMaster" Target="../slideMasters/slideMaster1.xml"/><Relationship Id="rId4" Type="http://schemas.openxmlformats.org/officeDocument/2006/relationships/image" Target="../media/image3.w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0.wmf"/><Relationship Id="rId1" Type="http://schemas.openxmlformats.org/officeDocument/2006/relationships/slideMaster" Target="../slideMasters/slideMaster4.xml"/><Relationship Id="rId4" Type="http://schemas.openxmlformats.org/officeDocument/2006/relationships/image" Target="../media/image16.w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2.wmf"/><Relationship Id="rId1" Type="http://schemas.openxmlformats.org/officeDocument/2006/relationships/slideMaster" Target="../slideMasters/slideMaster4.xml"/><Relationship Id="rId4" Type="http://schemas.openxmlformats.org/officeDocument/2006/relationships/image" Target="../media/image16.w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7" name="Rectangle 1"/>
          <p:cNvSpPr>
            <a:spLocks noChangeAspect="1"/>
          </p:cNvSpPr>
          <p:nvPr userDrawn="1"/>
        </p:nvSpPr>
        <p:spPr>
          <a:xfrm>
            <a:off x="528404" y="856764"/>
            <a:ext cx="7291509" cy="3748339"/>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95" dirty="0">
              <a:solidFill>
                <a:schemeClr val="tx1"/>
              </a:solidFill>
            </a:endParaRPr>
          </a:p>
        </p:txBody>
      </p:sp>
      <p:sp>
        <p:nvSpPr>
          <p:cNvPr id="12" name="Title 1"/>
          <p:cNvSpPr>
            <a:spLocks noGrp="1"/>
          </p:cNvSpPr>
          <p:nvPr>
            <p:ph type="ctrTitle"/>
          </p:nvPr>
        </p:nvSpPr>
        <p:spPr>
          <a:xfrm>
            <a:off x="816974" y="2469494"/>
            <a:ext cx="6701710" cy="948432"/>
          </a:xfrm>
        </p:spPr>
        <p:txBody>
          <a:bodyPr/>
          <a:lstStyle>
            <a:lvl1pPr>
              <a:defRPr sz="3000">
                <a:solidFill>
                  <a:srgbClr val="404040"/>
                </a:solidFill>
                <a:latin typeface="+mn-lt"/>
                <a:cs typeface="Arial" pitchFamily="34" charset="0"/>
              </a:defRPr>
            </a:lvl1pPr>
          </a:lstStyle>
          <a:p>
            <a:r>
              <a:rPr lang="en-US"/>
              <a:t>Click to edit Master title style</a:t>
            </a:r>
            <a:endParaRPr lang="en-GB" dirty="0"/>
          </a:p>
        </p:txBody>
      </p:sp>
      <p:sp>
        <p:nvSpPr>
          <p:cNvPr id="15" name="Subtitle 2"/>
          <p:cNvSpPr>
            <a:spLocks noGrp="1"/>
          </p:cNvSpPr>
          <p:nvPr>
            <p:ph type="subTitle" idx="1"/>
          </p:nvPr>
        </p:nvSpPr>
        <p:spPr>
          <a:xfrm>
            <a:off x="816973" y="3550285"/>
            <a:ext cx="6701711" cy="711811"/>
          </a:xfrm>
        </p:spPr>
        <p:txBody>
          <a:bodyPr/>
          <a:lstStyle>
            <a:lvl1pPr marL="0" indent="0" algn="l">
              <a:buNone/>
              <a:defRPr sz="2000">
                <a:solidFill>
                  <a:srgbClr val="404040"/>
                </a:solidFill>
                <a:latin typeface="+mn-lt"/>
                <a:cs typeface="Arial" pitchFamily="34" charset="0"/>
              </a:defRPr>
            </a:lvl1pPr>
            <a:lvl2pPr marL="0" indent="0" algn="l">
              <a:buNone/>
              <a:defRPr sz="1727">
                <a:solidFill>
                  <a:srgbClr val="404040"/>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pPr lvl="0"/>
            <a:r>
              <a:rPr lang="en-US"/>
              <a:t>Click to edit Master subtitle style</a:t>
            </a:r>
            <a:endParaRPr lang="en-GB" dirty="0"/>
          </a:p>
        </p:txBody>
      </p:sp>
      <p:pic>
        <p:nvPicPr>
          <p:cNvPr id="8"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02022" y="5886467"/>
            <a:ext cx="1065892" cy="1275343"/>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534590" y="222227"/>
            <a:ext cx="9626345" cy="948432"/>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8"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7" name="Date Placeholder 6"/>
          <p:cNvSpPr>
            <a:spLocks noGrp="1"/>
          </p:cNvSpPr>
          <p:nvPr>
            <p:ph type="dt" sz="half" idx="14"/>
          </p:nvPr>
        </p:nvSpPr>
        <p:spPr/>
        <p:txBody>
          <a:bodyPr/>
          <a:lstStyle/>
          <a:p>
            <a:fld id="{F9B58FDE-C277-4A39-A001-D1DFC0266D55}" type="datetime3">
              <a:rPr lang="en-US" smtClean="0"/>
              <a:t>19 March 2018</a:t>
            </a:fld>
            <a:endParaRPr lang="en-US" dirty="0"/>
          </a:p>
        </p:txBody>
      </p:sp>
      <p:sp>
        <p:nvSpPr>
          <p:cNvPr id="12" name="Footer Placeholder 11"/>
          <p:cNvSpPr>
            <a:spLocks noGrp="1"/>
          </p:cNvSpPr>
          <p:nvPr>
            <p:ph type="ftr" sz="quarter" idx="15"/>
          </p:nvPr>
        </p:nvSpPr>
        <p:spPr/>
        <p:txBody>
          <a:bodyPr/>
          <a:lstStyle/>
          <a:p>
            <a:r>
              <a:rPr lang="en-GB" dirty="0" err="1"/>
              <a:t>Unternehmenstransaktionen</a:t>
            </a:r>
            <a:r>
              <a:rPr lang="en-GB" dirty="0"/>
              <a:t> in der </a:t>
            </a:r>
            <a:r>
              <a:rPr lang="en-GB" dirty="0" err="1"/>
              <a:t>Schweiz</a:t>
            </a:r>
            <a:endParaRPr lang="en-GB" dirty="0"/>
          </a:p>
        </p:txBody>
      </p:sp>
      <p:sp>
        <p:nvSpPr>
          <p:cNvPr id="13" name="Content Placeholder 2"/>
          <p:cNvSpPr>
            <a:spLocks noGrp="1"/>
          </p:cNvSpPr>
          <p:nvPr>
            <p:ph sz="half" idx="1"/>
          </p:nvPr>
        </p:nvSpPr>
        <p:spPr>
          <a:xfrm>
            <a:off x="534591" y="2338136"/>
            <a:ext cx="4727128" cy="4403707"/>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943"/>
            </a:lvl6pPr>
            <a:lvl7pPr>
              <a:defRPr sz="1943"/>
            </a:lvl7pPr>
            <a:lvl8pPr>
              <a:defRPr sz="1943"/>
            </a:lvl8pPr>
            <a:lvl9pPr>
              <a:defRPr sz="19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3"/>
          <p:cNvSpPr>
            <a:spLocks noGrp="1"/>
          </p:cNvSpPr>
          <p:nvPr>
            <p:ph sz="half" idx="2"/>
          </p:nvPr>
        </p:nvSpPr>
        <p:spPr>
          <a:xfrm>
            <a:off x="5438513" y="2338136"/>
            <a:ext cx="4727128" cy="4403707"/>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943"/>
            </a:lvl6pPr>
            <a:lvl7pPr>
              <a:defRPr sz="1943"/>
            </a:lvl7pPr>
            <a:lvl8pPr>
              <a:defRPr sz="1943"/>
            </a:lvl8pPr>
            <a:lvl9pPr>
              <a:defRPr sz="19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9"/>
          <p:cNvSpPr>
            <a:spLocks noGrp="1"/>
          </p:cNvSpPr>
          <p:nvPr>
            <p:ph type="body" sz="quarter" idx="12"/>
          </p:nvPr>
        </p:nvSpPr>
        <p:spPr>
          <a:xfrm>
            <a:off x="534591" y="1572413"/>
            <a:ext cx="4727128" cy="706363"/>
          </a:xfrm>
          <a:prstGeom prst="rect">
            <a:avLst/>
          </a:prstGeom>
        </p:spPr>
        <p:txBody>
          <a:bodyPr anchor="t" anchorCtr="0"/>
          <a:lstStyle>
            <a:lvl1pPr>
              <a:buNone/>
              <a:defRPr b="1">
                <a:solidFill>
                  <a:schemeClr val="bg1"/>
                </a:solidFill>
              </a:defRPr>
            </a:lvl1pPr>
          </a:lstStyle>
          <a:p>
            <a:pPr lvl="0"/>
            <a:r>
              <a:rPr lang="en-US"/>
              <a:t>Click to edit Master text styles</a:t>
            </a:r>
          </a:p>
        </p:txBody>
      </p:sp>
      <p:sp>
        <p:nvSpPr>
          <p:cNvPr id="16" name="Text Placeholder 9"/>
          <p:cNvSpPr>
            <a:spLocks noGrp="1"/>
          </p:cNvSpPr>
          <p:nvPr>
            <p:ph type="body" sz="quarter" idx="13"/>
          </p:nvPr>
        </p:nvSpPr>
        <p:spPr>
          <a:xfrm>
            <a:off x="5438513" y="1572413"/>
            <a:ext cx="4727128" cy="706363"/>
          </a:xfrm>
          <a:prstGeom prst="rect">
            <a:avLst/>
          </a:prstGeom>
        </p:spPr>
        <p:txBody>
          <a:bodyPr anchor="t" anchorCtr="0"/>
          <a:lstStyle>
            <a:lvl1pPr>
              <a:buNone/>
              <a:defRPr b="1">
                <a:solidFill>
                  <a:schemeClr val="bg1"/>
                </a:solidFill>
              </a:defRPr>
            </a:lvl1pPr>
          </a:lstStyle>
          <a:p>
            <a:pPr lvl="0"/>
            <a:r>
              <a:rPr lang="en-US"/>
              <a:t>Click to edit Master text styles</a:t>
            </a:r>
          </a:p>
        </p:txBody>
      </p:sp>
    </p:spTree>
  </p:cSld>
  <p:clrMapOvr>
    <a:masterClrMapping/>
  </p:clrMapOvr>
  <p:extLst mod="1">
    <p:ext uri="{DCECCB84-F9BA-43D5-87BE-67443E8EF086}">
      <p15:sldGuideLst xmlns:p15="http://schemas.microsoft.com/office/powerpoint/2012/main">
        <p15:guide id="1" pos="3322" userDrawn="1">
          <p15:clr>
            <a:srgbClr val="FBAE40"/>
          </p15:clr>
        </p15:guide>
        <p15:guide id="2" pos="3413" userDrawn="1">
          <p15:clr>
            <a:srgbClr val="FBAE40"/>
          </p15:clr>
        </p15:guide>
        <p15:guide id="3" orient="horz" pos="145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32736" y="1144588"/>
            <a:ext cx="9622632" cy="1795498"/>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6" name="Date Placeholder 5"/>
          <p:cNvSpPr>
            <a:spLocks noGrp="1"/>
          </p:cNvSpPr>
          <p:nvPr>
            <p:ph type="dt" sz="half" idx="12"/>
          </p:nvPr>
        </p:nvSpPr>
        <p:spPr/>
        <p:txBody>
          <a:bodyPr/>
          <a:lstStyle/>
          <a:p>
            <a:fld id="{3E3AA151-EA36-47B6-AAD8-03DE3D70D2E0}" type="datetime3">
              <a:rPr lang="en-US" smtClean="0"/>
              <a:t>19 March 2018</a:t>
            </a:fld>
            <a:endParaRPr lang="en-US" dirty="0"/>
          </a:p>
        </p:txBody>
      </p:sp>
      <p:sp>
        <p:nvSpPr>
          <p:cNvPr id="7" name="Footer Placeholder 6"/>
          <p:cNvSpPr>
            <a:spLocks noGrp="1"/>
          </p:cNvSpPr>
          <p:nvPr>
            <p:ph type="ftr" sz="quarter" idx="13"/>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591" y="221750"/>
            <a:ext cx="9622632" cy="88700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3077" name="Freeform 5"/>
          <p:cNvSpPr>
            <a:spLocks/>
          </p:cNvSpPr>
          <p:nvPr userDrawn="1"/>
        </p:nvSpPr>
        <p:spPr bwMode="gray">
          <a:xfrm>
            <a:off x="520700" y="1149071"/>
            <a:ext cx="9650413" cy="5715254"/>
          </a:xfrm>
          <a:custGeom>
            <a:avLst/>
            <a:gdLst>
              <a:gd name="connsiteX0" fmla="*/ 0 w 10000"/>
              <a:gd name="connsiteY0" fmla="*/ 0 h 10000"/>
              <a:gd name="connsiteX1" fmla="*/ 0 w 10000"/>
              <a:gd name="connsiteY1" fmla="*/ 10000 h 10000"/>
              <a:gd name="connsiteX2" fmla="*/ 10000 w 10000"/>
              <a:gd name="connsiteY2" fmla="*/ 6974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6974"/>
                </a:lnTo>
                <a:lnTo>
                  <a:pt x="10000" y="0"/>
                </a:lnTo>
                <a:lnTo>
                  <a:pt x="0" y="0"/>
                </a:lnTo>
                <a:close/>
              </a:path>
            </a:pathLst>
          </a:custGeom>
          <a:solidFill>
            <a:schemeClr val="accent2"/>
          </a:solidFill>
          <a:ln w="9525">
            <a:noFill/>
            <a:round/>
            <a:headEnd/>
            <a:tailEnd/>
          </a:ln>
        </p:spPr>
        <p:txBody>
          <a:bodyPr vert="horz" wrap="square" lIns="98694" tIns="49347" rIns="98694" bIns="49347" numCol="1" anchor="t" anchorCtr="0" compatLnSpc="1">
            <a:prstTxWarp prst="textNoShape">
              <a:avLst/>
            </a:prstTxWarp>
          </a:bodyPr>
          <a:lstStyle/>
          <a:p>
            <a:endParaRPr lang="en-GB" sz="2115">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fld id="{F50530E6-DBED-498F-8737-4357E80DCF78}" type="datetime3">
              <a:rPr lang="en-US" smtClean="0"/>
              <a:t>19 March 2018</a:t>
            </a:fld>
            <a:endParaRPr lang="en-US" dirty="0"/>
          </a:p>
        </p:txBody>
      </p:sp>
      <p:sp>
        <p:nvSpPr>
          <p:cNvPr id="6" name="Footer Placeholder 5"/>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591" y="221750"/>
            <a:ext cx="9622632" cy="88700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520700" y="1149071"/>
            <a:ext cx="9650413" cy="5715254"/>
          </a:xfrm>
          <a:custGeom>
            <a:avLst/>
            <a:gdLst>
              <a:gd name="connsiteX0" fmla="*/ 0 w 10000"/>
              <a:gd name="connsiteY0" fmla="*/ 0 h 10000"/>
              <a:gd name="connsiteX1" fmla="*/ 0 w 10000"/>
              <a:gd name="connsiteY1" fmla="*/ 10000 h 10000"/>
              <a:gd name="connsiteX2" fmla="*/ 9997 w 10000"/>
              <a:gd name="connsiteY2" fmla="*/ 6979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9997" y="6979"/>
                </a:lnTo>
                <a:cubicBezTo>
                  <a:pt x="9998" y="4653"/>
                  <a:pt x="9999" y="2326"/>
                  <a:pt x="10000" y="0"/>
                </a:cubicBezTo>
                <a:lnTo>
                  <a:pt x="0" y="0"/>
                </a:lnTo>
                <a:close/>
              </a:path>
            </a:pathLst>
          </a:custGeom>
          <a:solidFill>
            <a:schemeClr val="accent1"/>
          </a:solidFill>
          <a:ln w="9525">
            <a:noFill/>
            <a:round/>
            <a:headEnd/>
            <a:tailEnd/>
          </a:ln>
        </p:spPr>
        <p:txBody>
          <a:bodyPr vert="horz" wrap="square" lIns="98694" tIns="49347" rIns="98694" bIns="49347" numCol="1" anchor="t" anchorCtr="0" compatLnSpc="1">
            <a:prstTxWarp prst="textNoShape">
              <a:avLst/>
            </a:prstTxWarp>
          </a:bodyPr>
          <a:lstStyle/>
          <a:p>
            <a:endParaRPr lang="en-GB" sz="2115">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fld id="{15D4ABE4-1A3D-46C2-9284-5A93B20CE9FE}" type="datetime3">
              <a:rPr lang="en-US" smtClean="0"/>
              <a:t>19 March 2018</a:t>
            </a:fld>
            <a:endParaRPr lang="en-US" dirty="0"/>
          </a:p>
        </p:txBody>
      </p:sp>
      <p:sp>
        <p:nvSpPr>
          <p:cNvPr id="6" name="Footer Placeholder 5"/>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591" y="221750"/>
            <a:ext cx="9622632" cy="88700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518984" y="1146849"/>
            <a:ext cx="9652129" cy="5715254"/>
          </a:xfrm>
          <a:custGeom>
            <a:avLst/>
            <a:gdLst>
              <a:gd name="connsiteX0" fmla="*/ 0 w 10000"/>
              <a:gd name="connsiteY0" fmla="*/ 0 h 10000"/>
              <a:gd name="connsiteX1" fmla="*/ 0 w 10000"/>
              <a:gd name="connsiteY1" fmla="*/ 10000 h 10000"/>
              <a:gd name="connsiteX2" fmla="*/ 10000 w 10000"/>
              <a:gd name="connsiteY2" fmla="*/ 6985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6985"/>
                </a:lnTo>
                <a:lnTo>
                  <a:pt x="10000" y="0"/>
                </a:lnTo>
                <a:lnTo>
                  <a:pt x="0" y="0"/>
                </a:lnTo>
                <a:close/>
              </a:path>
            </a:pathLst>
          </a:custGeom>
          <a:blipFill dpi="0" rotWithShape="1">
            <a:blip r:embed="rId2" cstate="print"/>
            <a:srcRect/>
            <a:stretch>
              <a:fillRect/>
            </a:stretch>
          </a:blipFill>
          <a:ln w="9525">
            <a:noFill/>
            <a:round/>
            <a:headEnd/>
            <a:tailEnd/>
          </a:ln>
        </p:spPr>
        <p:txBody>
          <a:bodyPr vert="horz" wrap="square" lIns="98694" tIns="49347" rIns="98694" bIns="49347" numCol="1" anchor="t" anchorCtr="0" compatLnSpc="1">
            <a:prstTxWarp prst="textNoShape">
              <a:avLst/>
            </a:prstTxWarp>
          </a:bodyPr>
          <a:lstStyle/>
          <a:p>
            <a:endParaRPr lang="en-GB" sz="2115">
              <a:solidFill>
                <a:schemeClr val="bg1"/>
              </a:solidFill>
              <a:latin typeface="+mn-lt"/>
              <a:cs typeface="Arial" pitchFamily="34" charset="0"/>
            </a:endParaRPr>
          </a:p>
        </p:txBody>
      </p:sp>
      <p:sp>
        <p:nvSpPr>
          <p:cNvPr id="5" name="Date Placeholder 4"/>
          <p:cNvSpPr>
            <a:spLocks noGrp="1"/>
          </p:cNvSpPr>
          <p:nvPr>
            <p:ph type="dt" sz="half" idx="10"/>
          </p:nvPr>
        </p:nvSpPr>
        <p:spPr/>
        <p:txBody>
          <a:bodyPr/>
          <a:lstStyle/>
          <a:p>
            <a:fld id="{E86C7224-D66A-4DB5-8BB4-CE77F26BAE5D}" type="datetime3">
              <a:rPr lang="en-US" smtClean="0"/>
              <a:t>19 March 2018</a:t>
            </a:fld>
            <a:endParaRPr lang="en-US" dirty="0"/>
          </a:p>
        </p:txBody>
      </p:sp>
      <p:sp>
        <p:nvSpPr>
          <p:cNvPr id="6" name="Footer Placeholder 5"/>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532735" y="6882455"/>
            <a:ext cx="9622632" cy="0"/>
          </a:xfrm>
          <a:prstGeom prst="line">
            <a:avLst/>
          </a:prstGeom>
          <a:noFill/>
          <a:ln w="3175">
            <a:solidFill>
              <a:schemeClr val="bg1"/>
            </a:solidFill>
            <a:round/>
            <a:headEnd/>
            <a:tailEnd/>
          </a:ln>
          <a:effectLst/>
        </p:spPr>
        <p:txBody>
          <a:bodyPr wrap="none" anchor="ctr"/>
          <a:lstStyle/>
          <a:p>
            <a:endParaRPr lang="en-US" sz="2115"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2F55E754-1777-4F8B-8E7D-4839C5750B65}"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33506808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532734" y="792717"/>
            <a:ext cx="4099931" cy="5743129"/>
          </a:xfrm>
          <a:prstGeom prst="rect">
            <a:avLst/>
          </a:prstGeom>
        </p:spPr>
        <p:txBody>
          <a:bodyPr/>
          <a:lstStyle>
            <a:lvl1pPr marL="0" indent="0" algn="l" defTabSz="1074295" rtl="0" fontAlgn="base">
              <a:lnSpc>
                <a:spcPct val="100000"/>
              </a:lnSpc>
              <a:spcBef>
                <a:spcPct val="70000"/>
              </a:spcBef>
              <a:spcAft>
                <a:spcPct val="0"/>
              </a:spcAft>
              <a:buSzPct val="100000"/>
              <a:buNone/>
              <a:defRPr lang="en-US" sz="1295" kern="1200" noProof="0" dirty="0" smtClean="0">
                <a:solidFill>
                  <a:schemeClr val="bg1"/>
                </a:solidFill>
                <a:latin typeface="+mn-lt"/>
                <a:ea typeface="+mn-ea"/>
                <a:cs typeface="Arial" pitchFamily="34" charset="0"/>
              </a:defRPr>
            </a:lvl1pPr>
            <a:lvl2pPr marL="0" indent="0" algn="l" defTabSz="1074295" rtl="0" fontAlgn="base">
              <a:lnSpc>
                <a:spcPct val="100000"/>
              </a:lnSpc>
              <a:spcBef>
                <a:spcPct val="0"/>
              </a:spcBef>
              <a:spcAft>
                <a:spcPct val="0"/>
              </a:spcAft>
              <a:buSzPct val="100000"/>
              <a:buNone/>
              <a:defRPr lang="en-US" sz="971" b="1" kern="1200" noProof="0" dirty="0" smtClean="0">
                <a:solidFill>
                  <a:schemeClr val="bg1"/>
                </a:solidFill>
                <a:latin typeface="+mn-lt"/>
                <a:ea typeface="+mn-ea"/>
                <a:cs typeface="Arial" pitchFamily="34" charset="0"/>
              </a:defRPr>
            </a:lvl2pPr>
            <a:lvl3pPr marL="190187" indent="-190187" algn="l" defTabSz="1074295" rtl="0" fontAlgn="base">
              <a:lnSpc>
                <a:spcPct val="100000"/>
              </a:lnSpc>
              <a:spcBef>
                <a:spcPct val="0"/>
              </a:spcBef>
              <a:spcAft>
                <a:spcPct val="0"/>
              </a:spcAft>
              <a:buClr>
                <a:schemeClr val="accent2"/>
              </a:buClr>
              <a:buSzPct val="70000"/>
              <a:buFont typeface="Arial" pitchFamily="34" charset="0"/>
              <a:buChar char="►"/>
              <a:defRPr lang="en-US" sz="971" b="1" kern="1200" noProof="0" dirty="0" smtClean="0">
                <a:solidFill>
                  <a:schemeClr val="bg1"/>
                </a:solidFill>
                <a:latin typeface="+mn-lt"/>
                <a:ea typeface="+mn-ea"/>
                <a:cs typeface="Arial" pitchFamily="34" charset="0"/>
              </a:defRPr>
            </a:lvl3pPr>
            <a:lvl4pPr marL="0" indent="0" algn="l" defTabSz="1074295" rtl="0" fontAlgn="base">
              <a:lnSpc>
                <a:spcPct val="100000"/>
              </a:lnSpc>
              <a:spcBef>
                <a:spcPct val="0"/>
              </a:spcBef>
              <a:spcAft>
                <a:spcPct val="0"/>
              </a:spcAft>
              <a:buSzPct val="100000"/>
              <a:buNone/>
              <a:defRPr lang="en-US" sz="863" kern="1200" noProof="0" dirty="0" smtClean="0">
                <a:solidFill>
                  <a:schemeClr val="bg1"/>
                </a:solidFill>
                <a:latin typeface="+mn-lt"/>
                <a:ea typeface="+mn-ea"/>
                <a:cs typeface="Arial" pitchFamily="34" charset="0"/>
              </a:defRPr>
            </a:lvl4pPr>
            <a:lvl5pPr marL="203894" indent="-203894" algn="l" defTabSz="1074295" rtl="0" fontAlgn="base">
              <a:lnSpc>
                <a:spcPct val="100000"/>
              </a:lnSpc>
              <a:spcBef>
                <a:spcPct val="0"/>
              </a:spcBef>
              <a:spcAft>
                <a:spcPct val="0"/>
              </a:spcAft>
              <a:buClr>
                <a:schemeClr val="accent2"/>
              </a:buClr>
              <a:buSzPct val="70000"/>
              <a:buFont typeface="Arial" pitchFamily="34" charset="0"/>
              <a:buChar char="►"/>
              <a:defRPr lang="en-US" sz="863"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96418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9" name="Rectangle 1"/>
          <p:cNvSpPr>
            <a:spLocks noChangeAspect="1"/>
          </p:cNvSpPr>
          <p:nvPr userDrawn="1"/>
        </p:nvSpPr>
        <p:spPr>
          <a:xfrm>
            <a:off x="2867571" y="856764"/>
            <a:ext cx="7291509" cy="3748339"/>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95" dirty="0">
              <a:solidFill>
                <a:schemeClr val="tx1"/>
              </a:solidFill>
            </a:endParaRPr>
          </a:p>
        </p:txBody>
      </p:sp>
      <p:sp>
        <p:nvSpPr>
          <p:cNvPr id="17" name="Title 1"/>
          <p:cNvSpPr>
            <a:spLocks noGrp="1"/>
          </p:cNvSpPr>
          <p:nvPr>
            <p:ph type="ctrTitle"/>
          </p:nvPr>
        </p:nvSpPr>
        <p:spPr>
          <a:xfrm>
            <a:off x="3156141" y="2469494"/>
            <a:ext cx="6701710" cy="948432"/>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8" name="Subtitle 2"/>
          <p:cNvSpPr>
            <a:spLocks noGrp="1"/>
          </p:cNvSpPr>
          <p:nvPr>
            <p:ph type="subTitle" idx="1"/>
          </p:nvPr>
        </p:nvSpPr>
        <p:spPr>
          <a:xfrm>
            <a:off x="3156140" y="3550285"/>
            <a:ext cx="6701711" cy="711811"/>
          </a:xfrm>
        </p:spPr>
        <p:txBody>
          <a:bodyPr/>
          <a:lstStyle>
            <a:lvl1pPr marL="0" indent="0" algn="l">
              <a:buNone/>
              <a:defRPr sz="2000">
                <a:solidFill>
                  <a:srgbClr val="404040"/>
                </a:solidFill>
                <a:latin typeface="+mn-lt"/>
                <a:cs typeface="Arial" pitchFamily="34" charset="0"/>
              </a:defRPr>
            </a:lvl1pPr>
            <a:lvl2pPr marL="0" indent="0" algn="l">
              <a:buNone/>
              <a:defRPr sz="1727">
                <a:solidFill>
                  <a:srgbClr val="404040"/>
                </a:solidFill>
              </a:defRPr>
            </a:lvl2pPr>
            <a:lvl3pPr marL="0" indent="0" algn="l">
              <a:buNone/>
              <a:defRPr sz="1727">
                <a:solidFill>
                  <a:srgbClr val="404040"/>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pPr lvl="0"/>
            <a:r>
              <a:rPr lang="en-US" dirty="0"/>
              <a:t>Click to edit Master subtitle style</a:t>
            </a:r>
            <a:endParaRPr lang="en-GB" dirty="0"/>
          </a:p>
        </p:txBody>
      </p:sp>
      <p:pic>
        <p:nvPicPr>
          <p:cNvPr id="10"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02022" y="5886467"/>
            <a:ext cx="1065892" cy="1275343"/>
          </a:xfrm>
          <a:prstGeom prst="rect">
            <a:avLst/>
          </a:prstGeom>
        </p:spPr>
      </p:pic>
    </p:spTree>
    <p:extLst>
      <p:ext uri="{BB962C8B-B14F-4D97-AF65-F5344CB8AC3E}">
        <p14:creationId xmlns:p14="http://schemas.microsoft.com/office/powerpoint/2010/main" val="36741581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sp>
        <p:nvSpPr>
          <p:cNvPr id="17" name="Subtitle 2"/>
          <p:cNvSpPr>
            <a:spLocks noGrp="1"/>
          </p:cNvSpPr>
          <p:nvPr>
            <p:ph type="subTitle" idx="1"/>
          </p:nvPr>
        </p:nvSpPr>
        <p:spPr>
          <a:xfrm>
            <a:off x="1037106" y="3591925"/>
            <a:ext cx="6304949" cy="711811"/>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727">
                <a:solidFill>
                  <a:srgbClr val="404040"/>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pPr lvl="0"/>
            <a:r>
              <a:rPr lang="en-US"/>
              <a:t>Click to edit Master subtitle style</a:t>
            </a:r>
            <a:endParaRPr lang="en-GB" dirty="0"/>
          </a:p>
        </p:txBody>
      </p:sp>
      <p:sp>
        <p:nvSpPr>
          <p:cNvPr id="18" name="Title 1"/>
          <p:cNvSpPr>
            <a:spLocks noGrp="1"/>
          </p:cNvSpPr>
          <p:nvPr>
            <p:ph type="ctrTitle"/>
          </p:nvPr>
        </p:nvSpPr>
        <p:spPr>
          <a:xfrm>
            <a:off x="1037106" y="2522188"/>
            <a:ext cx="6304949" cy="948432"/>
          </a:xfrm>
          <a:prstGeom prst="rect">
            <a:avLst/>
          </a:prstGeom>
        </p:spPr>
        <p:txBody>
          <a:bodyPr/>
          <a:lstStyle>
            <a:lvl1pPr>
              <a:defRPr sz="3000">
                <a:solidFill>
                  <a:srgbClr val="404040"/>
                </a:solidFill>
                <a:latin typeface="+mn-lt"/>
                <a:cs typeface="Arial" pitchFamily="34" charset="0"/>
              </a:defRPr>
            </a:lvl1pPr>
          </a:lstStyle>
          <a:p>
            <a:r>
              <a:rPr lang="en-US"/>
              <a:t>Click to edit Master title style</a:t>
            </a:r>
            <a:endParaRPr lang="en-GB" dirty="0"/>
          </a:p>
        </p:txBody>
      </p:sp>
      <p:pic>
        <p:nvPicPr>
          <p:cNvPr id="9"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655" y="6481162"/>
            <a:ext cx="4079856" cy="682057"/>
          </a:xfrm>
          <a:prstGeom prst="rect">
            <a:avLst/>
          </a:prstGeom>
        </p:spPr>
      </p:pic>
      <p:pic>
        <p:nvPicPr>
          <p:cNvPr id="11"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8439" y="856764"/>
            <a:ext cx="7288938" cy="3748339"/>
          </a:xfrm>
          <a:prstGeom prst="rect">
            <a:avLst/>
          </a:prstGeom>
        </p:spPr>
      </p:pic>
      <p:pic>
        <p:nvPicPr>
          <p:cNvPr id="12"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02022" y="5886467"/>
            <a:ext cx="1065892" cy="1275343"/>
          </a:xfrm>
          <a:prstGeom prst="rect">
            <a:avLst/>
          </a:prstGeom>
        </p:spPr>
      </p:pic>
    </p:spTree>
    <p:extLst>
      <p:ext uri="{BB962C8B-B14F-4D97-AF65-F5344CB8AC3E}">
        <p14:creationId xmlns:p14="http://schemas.microsoft.com/office/powerpoint/2010/main" val="37223587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9" name="Freeform 5"/>
          <p:cNvSpPr>
            <a:spLocks noChangeAspect="1"/>
          </p:cNvSpPr>
          <p:nvPr userDrawn="1"/>
        </p:nvSpPr>
        <p:spPr bwMode="gray">
          <a:xfrm rot="10800000">
            <a:off x="4318642" y="503979"/>
            <a:ext cx="5842665" cy="5038034"/>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8694" tIns="49347" rIns="98694" bIns="49347" numCol="1" anchor="t" anchorCtr="0" compatLnSpc="1">
            <a:prstTxWarp prst="textNoShape">
              <a:avLst/>
            </a:prstTxWarp>
          </a:bodyPr>
          <a:lstStyle/>
          <a:p>
            <a:endParaRPr lang="en-GB" sz="2115"/>
          </a:p>
        </p:txBody>
      </p:sp>
      <p:sp>
        <p:nvSpPr>
          <p:cNvPr id="4" name="Title 1"/>
          <p:cNvSpPr>
            <a:spLocks noGrp="1"/>
          </p:cNvSpPr>
          <p:nvPr>
            <p:ph type="ctrTitle"/>
          </p:nvPr>
        </p:nvSpPr>
        <p:spPr>
          <a:xfrm>
            <a:off x="4591996" y="1849141"/>
            <a:ext cx="5298039" cy="948432"/>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5" name="Subtitle 2"/>
          <p:cNvSpPr>
            <a:spLocks noGrp="1"/>
          </p:cNvSpPr>
          <p:nvPr>
            <p:ph type="subTitle" idx="1"/>
          </p:nvPr>
        </p:nvSpPr>
        <p:spPr>
          <a:xfrm>
            <a:off x="4591995" y="2959856"/>
            <a:ext cx="5298041" cy="711811"/>
          </a:xfrm>
        </p:spPr>
        <p:txBody>
          <a:bodyPr/>
          <a:lstStyle>
            <a:lvl1pPr marL="0" indent="0" algn="l">
              <a:buNone/>
              <a:defRPr sz="2000">
                <a:solidFill>
                  <a:srgbClr val="404040"/>
                </a:solidFill>
                <a:latin typeface="+mn-lt"/>
                <a:cs typeface="Arial" pitchFamily="34" charset="0"/>
              </a:defRPr>
            </a:lvl1pPr>
            <a:lvl2pPr marL="0" indent="0" algn="l">
              <a:buNone/>
              <a:defRPr sz="1727">
                <a:solidFill>
                  <a:srgbClr val="404040"/>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pPr lvl="0"/>
            <a:r>
              <a:rPr lang="en-US" dirty="0"/>
              <a:t>Click to edit Master subtitle style</a:t>
            </a:r>
            <a:endParaRPr lang="en-GB" dirty="0"/>
          </a:p>
        </p:txBody>
      </p:sp>
      <p:pic>
        <p:nvPicPr>
          <p:cNvPr id="10"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02022" y="5886467"/>
            <a:ext cx="1065892" cy="1275343"/>
          </a:xfrm>
          <a:prstGeom prst="rect">
            <a:avLst/>
          </a:prstGeom>
        </p:spPr>
      </p:pic>
    </p:spTree>
    <p:extLst>
      <p:ext uri="{BB962C8B-B14F-4D97-AF65-F5344CB8AC3E}">
        <p14:creationId xmlns:p14="http://schemas.microsoft.com/office/powerpoint/2010/main" val="21216263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sp>
        <p:nvSpPr>
          <p:cNvPr id="7" name="Subtitle 2"/>
          <p:cNvSpPr>
            <a:spLocks noGrp="1"/>
          </p:cNvSpPr>
          <p:nvPr>
            <p:ph type="subTitle" idx="1"/>
          </p:nvPr>
        </p:nvSpPr>
        <p:spPr>
          <a:xfrm>
            <a:off x="1037106" y="3591925"/>
            <a:ext cx="6304949" cy="711811"/>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727">
                <a:solidFill>
                  <a:srgbClr val="404040"/>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pPr lvl="0"/>
            <a:r>
              <a:rPr lang="en-US" dirty="0"/>
              <a:t>Click to edit Master subtitle style</a:t>
            </a:r>
            <a:endParaRPr lang="en-GB" dirty="0"/>
          </a:p>
        </p:txBody>
      </p:sp>
      <p:sp>
        <p:nvSpPr>
          <p:cNvPr id="8" name="Title 1"/>
          <p:cNvSpPr>
            <a:spLocks noGrp="1"/>
          </p:cNvSpPr>
          <p:nvPr>
            <p:ph type="ctrTitle"/>
          </p:nvPr>
        </p:nvSpPr>
        <p:spPr>
          <a:xfrm>
            <a:off x="1037106" y="2522188"/>
            <a:ext cx="6304949" cy="948432"/>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pic>
        <p:nvPicPr>
          <p:cNvPr id="13"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6095" y="859214"/>
            <a:ext cx="7288938" cy="3748339"/>
          </a:xfrm>
          <a:prstGeom prst="rect">
            <a:avLst/>
          </a:prstGeom>
        </p:spPr>
      </p:pic>
      <p:pic>
        <p:nvPicPr>
          <p:cNvPr id="14"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6225" y="6481162"/>
            <a:ext cx="4079856" cy="682057"/>
          </a:xfrm>
          <a:prstGeom prst="rect">
            <a:avLst/>
          </a:prstGeom>
        </p:spPr>
      </p:pic>
      <p:pic>
        <p:nvPicPr>
          <p:cNvPr id="17" name="Picture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02022" y="5886467"/>
            <a:ext cx="1065892" cy="1275343"/>
          </a:xfrm>
          <a:prstGeom prst="rect">
            <a:avLst/>
          </a:prstGeom>
        </p:spPr>
      </p:pic>
    </p:spTree>
    <p:extLst>
      <p:ext uri="{BB962C8B-B14F-4D97-AF65-F5344CB8AC3E}">
        <p14:creationId xmlns:p14="http://schemas.microsoft.com/office/powerpoint/2010/main" val="37223587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sp>
        <p:nvSpPr>
          <p:cNvPr id="7" name="Title 1"/>
          <p:cNvSpPr>
            <a:spLocks noGrp="1"/>
          </p:cNvSpPr>
          <p:nvPr>
            <p:ph type="ctrTitle"/>
          </p:nvPr>
        </p:nvSpPr>
        <p:spPr>
          <a:xfrm>
            <a:off x="1037107" y="1983207"/>
            <a:ext cx="4867379" cy="948432"/>
          </a:xfrm>
          <a:prstGeom prst="rect">
            <a:avLst/>
          </a:prstGeo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8" name="Subtitle 2"/>
          <p:cNvSpPr>
            <a:spLocks noGrp="1"/>
          </p:cNvSpPr>
          <p:nvPr>
            <p:ph type="subTitle" idx="1"/>
          </p:nvPr>
        </p:nvSpPr>
        <p:spPr>
          <a:xfrm>
            <a:off x="1037107" y="3052945"/>
            <a:ext cx="4867379" cy="711811"/>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727">
                <a:solidFill>
                  <a:srgbClr val="404040"/>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pPr lvl="0"/>
            <a:r>
              <a:rPr lang="en-US" dirty="0"/>
              <a:t>Click to edit Master subtitle style</a:t>
            </a:r>
            <a:endParaRPr lang="en-GB" dirty="0"/>
          </a:p>
        </p:txBody>
      </p:sp>
      <p:pic>
        <p:nvPicPr>
          <p:cNvPr id="13"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6095" y="503979"/>
            <a:ext cx="5842802" cy="5039783"/>
          </a:xfrm>
          <a:prstGeom prst="rect">
            <a:avLst/>
          </a:prstGeom>
        </p:spPr>
      </p:pic>
      <p:pic>
        <p:nvPicPr>
          <p:cNvPr id="14"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6225" y="6481162"/>
            <a:ext cx="4079856" cy="682057"/>
          </a:xfrm>
          <a:prstGeom prst="rect">
            <a:avLst/>
          </a:prstGeom>
        </p:spPr>
      </p:pic>
      <p:pic>
        <p:nvPicPr>
          <p:cNvPr id="17" name="Picture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02022" y="5886467"/>
            <a:ext cx="1065892" cy="1275343"/>
          </a:xfrm>
          <a:prstGeom prst="rect">
            <a:avLst/>
          </a:prstGeom>
        </p:spPr>
      </p:pic>
    </p:spTree>
    <p:extLst>
      <p:ext uri="{BB962C8B-B14F-4D97-AF65-F5344CB8AC3E}">
        <p14:creationId xmlns:p14="http://schemas.microsoft.com/office/powerpoint/2010/main" val="15972940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534591" y="1571462"/>
            <a:ext cx="9622632" cy="5179750"/>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8"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6" name="Date Placeholder 5"/>
          <p:cNvSpPr>
            <a:spLocks noGrp="1"/>
          </p:cNvSpPr>
          <p:nvPr>
            <p:ph type="dt" sz="half" idx="10"/>
          </p:nvPr>
        </p:nvSpPr>
        <p:spPr/>
        <p:txBody>
          <a:bodyPr/>
          <a:lstStyle/>
          <a:p>
            <a:fld id="{F0F342B9-295F-44FC-8453-132A13BAC4B1}" type="datetime3">
              <a:rPr lang="en-US" smtClean="0"/>
              <a:t>19 March 2018</a:t>
            </a:fld>
            <a:endParaRPr lang="en-US" dirty="0"/>
          </a:p>
        </p:txBody>
      </p:sp>
      <p:sp>
        <p:nvSpPr>
          <p:cNvPr id="9" name="Footer Placeholder 8"/>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5687483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a:prstGeom prst="rect">
            <a:avLst/>
          </a:prstGeo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534591" y="1571459"/>
            <a:ext cx="9622632" cy="5179752"/>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A4690ABE-C7A8-4799-8FC2-64B9B0022319}"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12891094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a:prstGeom prst="rect">
            <a:avLst/>
          </a:prstGeo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534591" y="1571459"/>
            <a:ext cx="9622632" cy="5179752"/>
          </a:xfrm>
          <a:prstGeom prst="rect">
            <a:avLst/>
          </a:prstGeom>
        </p:spPr>
        <p:txBody>
          <a:bodyPr/>
          <a:lstStyle>
            <a:lvl1pPr marL="0" indent="0">
              <a:buNone/>
              <a:defRPr>
                <a:solidFill>
                  <a:schemeClr val="bg1"/>
                </a:solidFill>
                <a:latin typeface="+mn-lt"/>
                <a:cs typeface="Arial" pitchFamily="34" charset="0"/>
              </a:defRPr>
            </a:lvl1pPr>
            <a:lvl2pPr marL="384896">
              <a:defRPr>
                <a:solidFill>
                  <a:schemeClr val="bg1"/>
                </a:solidFill>
                <a:latin typeface="+mn-lt"/>
                <a:cs typeface="Arial" pitchFamily="34" charset="0"/>
              </a:defRPr>
            </a:lvl2pPr>
            <a:lvl3pPr marL="769791">
              <a:defRPr>
                <a:solidFill>
                  <a:schemeClr val="bg1"/>
                </a:solidFill>
                <a:latin typeface="+mn-lt"/>
                <a:cs typeface="Arial" pitchFamily="34" charset="0"/>
              </a:defRPr>
            </a:lvl3pPr>
            <a:lvl4pPr marL="1154687">
              <a:defRPr>
                <a:solidFill>
                  <a:schemeClr val="bg1"/>
                </a:solidFill>
                <a:latin typeface="+mn-lt"/>
                <a:cs typeface="Arial" pitchFamily="34" charset="0"/>
              </a:defRPr>
            </a:lvl4pPr>
            <a:lvl5pPr marL="1539583">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71D7C123-8C47-48C6-9DF6-2C77E202A97B}"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34619011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8"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5" name="Date Placeholder 4"/>
          <p:cNvSpPr>
            <a:spLocks noGrp="1"/>
          </p:cNvSpPr>
          <p:nvPr>
            <p:ph type="dt" sz="half" idx="10"/>
          </p:nvPr>
        </p:nvSpPr>
        <p:spPr/>
        <p:txBody>
          <a:bodyPr/>
          <a:lstStyle/>
          <a:p>
            <a:fld id="{15A092C9-CF71-4437-ADB6-84CF71A2236F}" type="datetime3">
              <a:rPr lang="en-US" smtClean="0"/>
              <a:t>19 March 2018</a:t>
            </a:fld>
            <a:endParaRPr lang="en-US" dirty="0"/>
          </a:p>
        </p:txBody>
      </p:sp>
      <p:sp>
        <p:nvSpPr>
          <p:cNvPr id="6" name="Footer Placeholder 5"/>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769335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8"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5" name="Date Placeholder 4"/>
          <p:cNvSpPr>
            <a:spLocks noGrp="1"/>
          </p:cNvSpPr>
          <p:nvPr>
            <p:ph type="dt" sz="half" idx="10"/>
          </p:nvPr>
        </p:nvSpPr>
        <p:spPr/>
        <p:txBody>
          <a:bodyPr/>
          <a:lstStyle/>
          <a:p>
            <a:fld id="{48B7B680-BFBD-41A8-824B-2D500E5ACB52}" type="datetime3">
              <a:rPr lang="en-US" smtClean="0"/>
              <a:t>19 March 2018</a:t>
            </a:fld>
            <a:endParaRPr lang="en-US" dirty="0"/>
          </a:p>
        </p:txBody>
      </p:sp>
      <p:sp>
        <p:nvSpPr>
          <p:cNvPr id="6" name="Footer Placeholder 5"/>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19545533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534591" y="1572413"/>
            <a:ext cx="4722217" cy="5171026"/>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943"/>
            </a:lvl6pPr>
            <a:lvl7pPr>
              <a:defRPr sz="1943"/>
            </a:lvl7pPr>
            <a:lvl8pPr>
              <a:defRPr sz="1943"/>
            </a:lvl8pPr>
            <a:lvl9pPr>
              <a:defRPr sz="194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5435005" y="1572413"/>
            <a:ext cx="4722217" cy="5171026"/>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943"/>
            </a:lvl6pPr>
            <a:lvl7pPr>
              <a:defRPr sz="1943"/>
            </a:lvl7pPr>
            <a:lvl8pPr>
              <a:defRPr sz="1943"/>
            </a:lvl8pPr>
            <a:lvl9pPr>
              <a:defRPr sz="194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12"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7" name="Date Placeholder 6"/>
          <p:cNvSpPr>
            <a:spLocks noGrp="1"/>
          </p:cNvSpPr>
          <p:nvPr>
            <p:ph type="dt" sz="half" idx="10"/>
          </p:nvPr>
        </p:nvSpPr>
        <p:spPr/>
        <p:txBody>
          <a:bodyPr/>
          <a:lstStyle/>
          <a:p>
            <a:fld id="{9021F6B8-3DF1-49BB-A476-C442F2E15D4D}" type="datetime3">
              <a:rPr lang="en-US" smtClean="0"/>
              <a:t>19 March 2018</a:t>
            </a:fld>
            <a:endParaRPr lang="en-US" dirty="0"/>
          </a:p>
        </p:txBody>
      </p:sp>
      <p:sp>
        <p:nvSpPr>
          <p:cNvPr id="9" name="Footer Placeholder 8"/>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16146428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a:prstGeom prst="rect">
            <a:avLst/>
          </a:prstGeo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534591" y="2338136"/>
            <a:ext cx="4727128" cy="4403707"/>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943"/>
            </a:lvl6pPr>
            <a:lvl7pPr>
              <a:defRPr sz="1943"/>
            </a:lvl7pPr>
            <a:lvl8pPr>
              <a:defRPr sz="1943"/>
            </a:lvl8pPr>
            <a:lvl9pPr>
              <a:defRPr sz="194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5438513" y="2338136"/>
            <a:ext cx="4727128" cy="4403707"/>
          </a:xfrm>
          <a:prstGeom prst="rect">
            <a:avLst/>
          </a:prstGeo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943"/>
            </a:lvl6pPr>
            <a:lvl7pPr>
              <a:defRPr sz="1943"/>
            </a:lvl7pPr>
            <a:lvl8pPr>
              <a:defRPr sz="1943"/>
            </a:lvl8pPr>
            <a:lvl9pPr>
              <a:defRPr sz="194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10" name="Text Placeholder 9"/>
          <p:cNvSpPr>
            <a:spLocks noGrp="1"/>
          </p:cNvSpPr>
          <p:nvPr>
            <p:ph type="body" sz="quarter" idx="12"/>
          </p:nvPr>
        </p:nvSpPr>
        <p:spPr>
          <a:xfrm>
            <a:off x="534591" y="1572413"/>
            <a:ext cx="4727128" cy="706363"/>
          </a:xfrm>
          <a:prstGeom prst="rect">
            <a:avLst/>
          </a:prstGeo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5438513" y="1572413"/>
            <a:ext cx="4727128" cy="706363"/>
          </a:xfrm>
          <a:prstGeom prst="rect">
            <a:avLst/>
          </a:prstGeo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5" name="Date Placeholder 4"/>
          <p:cNvSpPr>
            <a:spLocks noGrp="1"/>
          </p:cNvSpPr>
          <p:nvPr>
            <p:ph type="dt" sz="half" idx="14"/>
          </p:nvPr>
        </p:nvSpPr>
        <p:spPr/>
        <p:txBody>
          <a:bodyPr/>
          <a:lstStyle/>
          <a:p>
            <a:fld id="{4883353C-2CD7-4A88-8EB8-55DEB75E72B4}" type="datetime3">
              <a:rPr lang="en-US" smtClean="0"/>
              <a:t>19 March 2018</a:t>
            </a:fld>
            <a:endParaRPr lang="en-US" dirty="0"/>
          </a:p>
        </p:txBody>
      </p:sp>
      <p:sp>
        <p:nvSpPr>
          <p:cNvPr id="6" name="Footer Placeholder 5"/>
          <p:cNvSpPr>
            <a:spLocks noGrp="1"/>
          </p:cNvSpPr>
          <p:nvPr>
            <p:ph type="ftr" sz="quarter" idx="15"/>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18758792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sp>
        <p:nvSpPr>
          <p:cNvPr id="9" name="Title 1"/>
          <p:cNvSpPr>
            <a:spLocks noGrp="1"/>
          </p:cNvSpPr>
          <p:nvPr>
            <p:ph type="ctrTitle"/>
          </p:nvPr>
        </p:nvSpPr>
        <p:spPr>
          <a:xfrm>
            <a:off x="1037107" y="1983207"/>
            <a:ext cx="4867379" cy="948432"/>
          </a:xfrm>
          <a:prstGeom prst="rect">
            <a:avLst/>
          </a:prstGeom>
        </p:spPr>
        <p:txBody>
          <a:bodyPr/>
          <a:lstStyle>
            <a:lvl1pPr>
              <a:defRPr sz="3000">
                <a:solidFill>
                  <a:srgbClr val="404040"/>
                </a:solidFill>
                <a:latin typeface="+mn-lt"/>
                <a:cs typeface="Arial" pitchFamily="34" charset="0"/>
              </a:defRPr>
            </a:lvl1pPr>
          </a:lstStyle>
          <a:p>
            <a:r>
              <a:rPr lang="en-US"/>
              <a:t>Click to edit Master title style</a:t>
            </a:r>
            <a:endParaRPr lang="en-GB" dirty="0"/>
          </a:p>
        </p:txBody>
      </p:sp>
      <p:sp>
        <p:nvSpPr>
          <p:cNvPr id="14" name="Subtitle 2"/>
          <p:cNvSpPr>
            <a:spLocks noGrp="1"/>
          </p:cNvSpPr>
          <p:nvPr>
            <p:ph type="subTitle" idx="1"/>
          </p:nvPr>
        </p:nvSpPr>
        <p:spPr>
          <a:xfrm>
            <a:off x="1037107" y="3052945"/>
            <a:ext cx="4867379" cy="711811"/>
          </a:xfrm>
          <a:prstGeom prst="rect">
            <a:avLst/>
          </a:prstGeom>
        </p:spPr>
        <p:txBody>
          <a:bodyPr/>
          <a:lstStyle>
            <a:lvl1pPr marL="0" indent="0" algn="l">
              <a:buNone/>
              <a:defRPr sz="2000">
                <a:solidFill>
                  <a:srgbClr val="404040"/>
                </a:solidFill>
                <a:latin typeface="+mn-lt"/>
                <a:cs typeface="Arial" pitchFamily="34" charset="0"/>
              </a:defRPr>
            </a:lvl1pPr>
            <a:lvl2pPr marL="0" indent="0" algn="l">
              <a:buNone/>
              <a:defRPr sz="1727">
                <a:solidFill>
                  <a:srgbClr val="404040"/>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pPr lvl="0"/>
            <a:r>
              <a:rPr lang="en-US"/>
              <a:t>Click to edit Master subtitle style</a:t>
            </a:r>
            <a:endParaRPr lang="en-GB" dirty="0"/>
          </a:p>
        </p:txBody>
      </p:sp>
      <p:pic>
        <p:nvPicPr>
          <p:cNvPr id="11"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8439" y="503979"/>
            <a:ext cx="5842802" cy="5039783"/>
          </a:xfrm>
          <a:prstGeom prst="rect">
            <a:avLst/>
          </a:prstGeom>
        </p:spPr>
      </p:pic>
      <p:pic>
        <p:nvPicPr>
          <p:cNvPr id="12"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3655" y="6481162"/>
            <a:ext cx="4079856" cy="682057"/>
          </a:xfrm>
          <a:prstGeom prst="rect">
            <a:avLst/>
          </a:prstGeom>
        </p:spPr>
      </p:pic>
      <p:pic>
        <p:nvPicPr>
          <p:cNvPr id="13"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02022" y="5886467"/>
            <a:ext cx="1065892" cy="1275343"/>
          </a:xfrm>
          <a:prstGeom prst="rect">
            <a:avLst/>
          </a:prstGeom>
        </p:spPr>
      </p:pic>
    </p:spTree>
    <p:extLst>
      <p:ext uri="{BB962C8B-B14F-4D97-AF65-F5344CB8AC3E}">
        <p14:creationId xmlns:p14="http://schemas.microsoft.com/office/powerpoint/2010/main" val="15972940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32736" y="1128913"/>
            <a:ext cx="9622632" cy="1811173"/>
          </a:xfrm>
          <a:prstGeom prst="rect">
            <a:avLst/>
          </a:prstGeo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endParaRPr>
          </a:p>
        </p:txBody>
      </p:sp>
      <p:sp>
        <p:nvSpPr>
          <p:cNvPr id="6" name="Date Placeholder 5"/>
          <p:cNvSpPr>
            <a:spLocks noGrp="1"/>
          </p:cNvSpPr>
          <p:nvPr>
            <p:ph type="dt" sz="half" idx="12"/>
          </p:nvPr>
        </p:nvSpPr>
        <p:spPr/>
        <p:txBody>
          <a:bodyPr/>
          <a:lstStyle/>
          <a:p>
            <a:fld id="{8AFFE53C-78EA-4AFE-B6AF-CDDC991C2419}" type="datetime3">
              <a:rPr lang="en-US" smtClean="0"/>
              <a:t>19 March 2018</a:t>
            </a:fld>
            <a:endParaRPr lang="en-US" dirty="0"/>
          </a:p>
        </p:txBody>
      </p:sp>
      <p:sp>
        <p:nvSpPr>
          <p:cNvPr id="7" name="Footer Placeholder 6"/>
          <p:cNvSpPr>
            <a:spLocks noGrp="1"/>
          </p:cNvSpPr>
          <p:nvPr>
            <p:ph type="ftr" sz="quarter" idx="13"/>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2615625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591" y="221750"/>
            <a:ext cx="9622632" cy="88700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34591" y="1149071"/>
            <a:ext cx="9622632" cy="5715254"/>
          </a:xfrm>
          <a:custGeom>
            <a:avLst/>
            <a:gdLst>
              <a:gd name="connsiteX0" fmla="*/ 0 w 10000"/>
              <a:gd name="connsiteY0" fmla="*/ 0 h 10000"/>
              <a:gd name="connsiteX1" fmla="*/ 0 w 10000"/>
              <a:gd name="connsiteY1" fmla="*/ 10000 h 10000"/>
              <a:gd name="connsiteX2" fmla="*/ 10000 w 10000"/>
              <a:gd name="connsiteY2" fmla="*/ 6952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6952"/>
                </a:lnTo>
                <a:lnTo>
                  <a:pt x="10000" y="0"/>
                </a:lnTo>
                <a:lnTo>
                  <a:pt x="0" y="0"/>
                </a:lnTo>
                <a:close/>
              </a:path>
            </a:pathLst>
          </a:custGeom>
          <a:solidFill>
            <a:schemeClr val="accent2"/>
          </a:solidFill>
          <a:ln w="9525">
            <a:noFill/>
            <a:round/>
            <a:headEnd/>
            <a:tailEnd/>
          </a:ln>
        </p:spPr>
        <p:txBody>
          <a:bodyPr vert="horz" wrap="square" lIns="98694" tIns="49347" rIns="98694" bIns="49347" numCol="1" anchor="t" anchorCtr="0" compatLnSpc="1">
            <a:prstTxWarp prst="textNoShape">
              <a:avLst/>
            </a:prstTxWarp>
          </a:bodyPr>
          <a:lstStyle/>
          <a:p>
            <a:endParaRPr lang="en-GB" sz="2115">
              <a:solidFill>
                <a:schemeClr val="bg1"/>
              </a:solidFill>
            </a:endParaRPr>
          </a:p>
        </p:txBody>
      </p:sp>
      <p:sp>
        <p:nvSpPr>
          <p:cNvPr id="5" name="Date Placeholder 4"/>
          <p:cNvSpPr>
            <a:spLocks noGrp="1"/>
          </p:cNvSpPr>
          <p:nvPr>
            <p:ph type="dt" sz="half" idx="10"/>
          </p:nvPr>
        </p:nvSpPr>
        <p:spPr/>
        <p:txBody>
          <a:bodyPr/>
          <a:lstStyle/>
          <a:p>
            <a:fld id="{798EFBA1-24A1-47FB-AB73-00FCC54B71AB}" type="datetime3">
              <a:rPr lang="en-US" smtClean="0"/>
              <a:t>19 March 2018</a:t>
            </a:fld>
            <a:endParaRPr lang="en-US" dirty="0"/>
          </a:p>
        </p:txBody>
      </p:sp>
      <p:sp>
        <p:nvSpPr>
          <p:cNvPr id="7" name="Footer Placeholder 6"/>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20448329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591" y="221750"/>
            <a:ext cx="9622632" cy="88700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34591" y="1149071"/>
            <a:ext cx="9622632" cy="5715254"/>
          </a:xfrm>
          <a:custGeom>
            <a:avLst/>
            <a:gdLst>
              <a:gd name="connsiteX0" fmla="*/ 0 w 10000"/>
              <a:gd name="connsiteY0" fmla="*/ 0 h 10000"/>
              <a:gd name="connsiteX1" fmla="*/ 0 w 10000"/>
              <a:gd name="connsiteY1" fmla="*/ 10000 h 10000"/>
              <a:gd name="connsiteX2" fmla="*/ 9992 w 10000"/>
              <a:gd name="connsiteY2" fmla="*/ 6965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9992" y="6965"/>
                </a:lnTo>
                <a:cubicBezTo>
                  <a:pt x="9995" y="4643"/>
                  <a:pt x="9997" y="2322"/>
                  <a:pt x="10000" y="0"/>
                </a:cubicBezTo>
                <a:lnTo>
                  <a:pt x="0" y="0"/>
                </a:lnTo>
                <a:close/>
              </a:path>
            </a:pathLst>
          </a:custGeom>
          <a:solidFill>
            <a:schemeClr val="accent1"/>
          </a:solidFill>
          <a:ln w="9525">
            <a:noFill/>
            <a:round/>
            <a:headEnd/>
            <a:tailEnd/>
          </a:ln>
        </p:spPr>
        <p:txBody>
          <a:bodyPr vert="horz" wrap="square" lIns="98694" tIns="49347" rIns="98694" bIns="49347" numCol="1" anchor="t" anchorCtr="0" compatLnSpc="1">
            <a:prstTxWarp prst="textNoShape">
              <a:avLst/>
            </a:prstTxWarp>
          </a:bodyPr>
          <a:lstStyle/>
          <a:p>
            <a:endParaRPr lang="en-GB" sz="2115">
              <a:solidFill>
                <a:schemeClr val="bg1"/>
              </a:solidFill>
            </a:endParaRPr>
          </a:p>
        </p:txBody>
      </p:sp>
      <p:sp>
        <p:nvSpPr>
          <p:cNvPr id="5" name="Date Placeholder 4"/>
          <p:cNvSpPr>
            <a:spLocks noGrp="1"/>
          </p:cNvSpPr>
          <p:nvPr>
            <p:ph type="dt" sz="half" idx="10"/>
          </p:nvPr>
        </p:nvSpPr>
        <p:spPr/>
        <p:txBody>
          <a:bodyPr/>
          <a:lstStyle/>
          <a:p>
            <a:fld id="{CA9FEB6E-BD22-4AA5-BCA4-2255F1B5E918}" type="datetime3">
              <a:rPr lang="en-US" smtClean="0"/>
              <a:t>19 March 2018</a:t>
            </a:fld>
            <a:endParaRPr lang="en-US" dirty="0"/>
          </a:p>
        </p:txBody>
      </p:sp>
      <p:sp>
        <p:nvSpPr>
          <p:cNvPr id="7" name="Footer Placeholder 6"/>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39308065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591" y="221750"/>
            <a:ext cx="9622632" cy="88700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5"/>
          <p:cNvSpPr>
            <a:spLocks/>
          </p:cNvSpPr>
          <p:nvPr userDrawn="1"/>
        </p:nvSpPr>
        <p:spPr bwMode="gray">
          <a:xfrm>
            <a:off x="534591" y="1138993"/>
            <a:ext cx="9622632" cy="5715254"/>
          </a:xfrm>
          <a:custGeom>
            <a:avLst/>
            <a:gdLst>
              <a:gd name="connsiteX0" fmla="*/ 0 w 10000"/>
              <a:gd name="connsiteY0" fmla="*/ 0 h 10000"/>
              <a:gd name="connsiteX1" fmla="*/ 0 w 10000"/>
              <a:gd name="connsiteY1" fmla="*/ 10000 h 10000"/>
              <a:gd name="connsiteX2" fmla="*/ 10000 w 10000"/>
              <a:gd name="connsiteY2" fmla="*/ 6985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6985"/>
                </a:lnTo>
                <a:lnTo>
                  <a:pt x="10000" y="0"/>
                </a:lnTo>
                <a:lnTo>
                  <a:pt x="0" y="0"/>
                </a:lnTo>
                <a:close/>
              </a:path>
            </a:pathLst>
          </a:custGeom>
          <a:blipFill dpi="0" rotWithShape="1">
            <a:blip r:embed="rId2" cstate="print"/>
            <a:srcRect/>
            <a:stretch>
              <a:fillRect/>
            </a:stretch>
          </a:blipFill>
          <a:ln w="9525">
            <a:noFill/>
            <a:round/>
            <a:headEnd/>
            <a:tailEnd/>
          </a:ln>
        </p:spPr>
        <p:txBody>
          <a:bodyPr vert="horz" wrap="square" lIns="98694" tIns="49347" rIns="98694" bIns="49347" numCol="1" anchor="t" anchorCtr="0" compatLnSpc="1">
            <a:prstTxWarp prst="textNoShape">
              <a:avLst/>
            </a:prstTxWarp>
          </a:bodyPr>
          <a:lstStyle/>
          <a:p>
            <a:endParaRPr lang="en-GB" sz="2115">
              <a:solidFill>
                <a:schemeClr val="bg1"/>
              </a:solidFill>
            </a:endParaRPr>
          </a:p>
        </p:txBody>
      </p:sp>
      <p:sp>
        <p:nvSpPr>
          <p:cNvPr id="6" name="Date Placeholder 5"/>
          <p:cNvSpPr>
            <a:spLocks noGrp="1"/>
          </p:cNvSpPr>
          <p:nvPr>
            <p:ph type="dt" sz="half" idx="10"/>
          </p:nvPr>
        </p:nvSpPr>
        <p:spPr/>
        <p:txBody>
          <a:bodyPr/>
          <a:lstStyle/>
          <a:p>
            <a:fld id="{9104E90E-BE5C-4EAD-8ED0-342FF6983B6B}" type="datetime3">
              <a:rPr lang="en-US" smtClean="0"/>
              <a:t>19 March 2018</a:t>
            </a:fld>
            <a:endParaRPr lang="en-US" dirty="0"/>
          </a:p>
        </p:txBody>
      </p:sp>
      <p:sp>
        <p:nvSpPr>
          <p:cNvPr id="7" name="Footer Placeholder 6"/>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39308065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532735" y="6882455"/>
            <a:ext cx="9622632" cy="0"/>
          </a:xfrm>
          <a:prstGeom prst="line">
            <a:avLst/>
          </a:prstGeom>
          <a:noFill/>
          <a:ln w="3175">
            <a:solidFill>
              <a:schemeClr val="bg1"/>
            </a:solidFill>
            <a:round/>
            <a:headEnd/>
            <a:tailEnd/>
          </a:ln>
          <a:effectLst/>
        </p:spPr>
        <p:txBody>
          <a:bodyPr wrap="none" anchor="ctr"/>
          <a:lstStyle/>
          <a:p>
            <a:endParaRPr lang="en-US" sz="2115" noProof="0" dirty="0">
              <a:solidFill>
                <a:schemeClr val="bg1"/>
              </a:solidFill>
            </a:endParaRPr>
          </a:p>
        </p:txBody>
      </p:sp>
      <p:sp>
        <p:nvSpPr>
          <p:cNvPr id="4" name="Date Placeholder 3"/>
          <p:cNvSpPr>
            <a:spLocks noGrp="1"/>
          </p:cNvSpPr>
          <p:nvPr>
            <p:ph type="dt" sz="half" idx="10"/>
          </p:nvPr>
        </p:nvSpPr>
        <p:spPr/>
        <p:txBody>
          <a:bodyPr/>
          <a:lstStyle/>
          <a:p>
            <a:fld id="{172E5D7C-245C-49E7-A1A7-FF3C58BF34E1}"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16611261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532734" y="792717"/>
            <a:ext cx="4099931" cy="5743129"/>
          </a:xfrm>
          <a:prstGeom prst="rect">
            <a:avLst/>
          </a:prstGeom>
        </p:spPr>
        <p:txBody>
          <a:bodyPr/>
          <a:lstStyle>
            <a:lvl1pPr marL="0" indent="0" algn="l" defTabSz="1074295" rtl="0" fontAlgn="base">
              <a:lnSpc>
                <a:spcPct val="100000"/>
              </a:lnSpc>
              <a:spcBef>
                <a:spcPct val="70000"/>
              </a:spcBef>
              <a:spcAft>
                <a:spcPct val="0"/>
              </a:spcAft>
              <a:buSzPct val="100000"/>
              <a:buNone/>
              <a:defRPr lang="en-US" sz="1295" kern="1200" noProof="0" dirty="0" smtClean="0">
                <a:solidFill>
                  <a:schemeClr val="bg1"/>
                </a:solidFill>
                <a:latin typeface="+mn-lt"/>
                <a:ea typeface="+mn-ea"/>
                <a:cs typeface="Arial" pitchFamily="34" charset="0"/>
              </a:defRPr>
            </a:lvl1pPr>
            <a:lvl2pPr marL="0" indent="0" algn="l" defTabSz="1074295" rtl="0" fontAlgn="base">
              <a:lnSpc>
                <a:spcPct val="100000"/>
              </a:lnSpc>
              <a:spcBef>
                <a:spcPct val="0"/>
              </a:spcBef>
              <a:spcAft>
                <a:spcPct val="0"/>
              </a:spcAft>
              <a:buSzPct val="100000"/>
              <a:buNone/>
              <a:defRPr lang="en-US" sz="971" b="1" kern="1200" noProof="0" dirty="0" smtClean="0">
                <a:solidFill>
                  <a:schemeClr val="bg1"/>
                </a:solidFill>
                <a:latin typeface="+mn-lt"/>
                <a:ea typeface="+mn-ea"/>
                <a:cs typeface="Arial" pitchFamily="34" charset="0"/>
              </a:defRPr>
            </a:lvl2pPr>
            <a:lvl3pPr marL="190187" indent="-190187" algn="l" defTabSz="1074295" rtl="0" fontAlgn="base">
              <a:lnSpc>
                <a:spcPct val="100000"/>
              </a:lnSpc>
              <a:spcBef>
                <a:spcPct val="0"/>
              </a:spcBef>
              <a:spcAft>
                <a:spcPct val="0"/>
              </a:spcAft>
              <a:buClr>
                <a:schemeClr val="accent2"/>
              </a:buClr>
              <a:buSzPct val="70000"/>
              <a:buFont typeface="Arial" pitchFamily="34" charset="0"/>
              <a:buChar char="►"/>
              <a:defRPr lang="en-US" sz="971" b="1" kern="1200" noProof="0" dirty="0" smtClean="0">
                <a:solidFill>
                  <a:schemeClr val="bg1"/>
                </a:solidFill>
                <a:latin typeface="+mn-lt"/>
                <a:ea typeface="+mn-ea"/>
                <a:cs typeface="Arial" pitchFamily="34" charset="0"/>
              </a:defRPr>
            </a:lvl3pPr>
            <a:lvl4pPr marL="0" indent="0" algn="l" defTabSz="1074295" rtl="0" fontAlgn="base">
              <a:lnSpc>
                <a:spcPct val="100000"/>
              </a:lnSpc>
              <a:spcBef>
                <a:spcPct val="0"/>
              </a:spcBef>
              <a:spcAft>
                <a:spcPct val="0"/>
              </a:spcAft>
              <a:buSzPct val="100000"/>
              <a:buNone/>
              <a:defRPr lang="en-US" sz="863" kern="1200" noProof="0" dirty="0" smtClean="0">
                <a:solidFill>
                  <a:schemeClr val="bg1"/>
                </a:solidFill>
                <a:latin typeface="+mn-lt"/>
                <a:ea typeface="+mn-ea"/>
                <a:cs typeface="Arial" pitchFamily="34" charset="0"/>
              </a:defRPr>
            </a:lvl4pPr>
            <a:lvl5pPr marL="203894" indent="-203894" algn="l" defTabSz="1074295" rtl="0" fontAlgn="base">
              <a:lnSpc>
                <a:spcPct val="100000"/>
              </a:lnSpc>
              <a:spcBef>
                <a:spcPct val="0"/>
              </a:spcBef>
              <a:spcAft>
                <a:spcPct val="0"/>
              </a:spcAft>
              <a:buClr>
                <a:schemeClr val="accent2"/>
              </a:buClr>
              <a:buSzPct val="70000"/>
              <a:buFont typeface="Arial" pitchFamily="34" charset="0"/>
              <a:buChar char="►"/>
              <a:defRPr lang="en-US" sz="863"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4193976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8037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9" name="Rectangle 1"/>
          <p:cNvSpPr>
            <a:spLocks noChangeAspect="1"/>
          </p:cNvSpPr>
          <p:nvPr userDrawn="1"/>
        </p:nvSpPr>
        <p:spPr>
          <a:xfrm>
            <a:off x="2867571" y="856764"/>
            <a:ext cx="7291509" cy="3748339"/>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95" dirty="0">
              <a:solidFill>
                <a:schemeClr val="tx1"/>
              </a:solidFill>
            </a:endParaRPr>
          </a:p>
        </p:txBody>
      </p:sp>
      <p:sp>
        <p:nvSpPr>
          <p:cNvPr id="17" name="Title 1"/>
          <p:cNvSpPr>
            <a:spLocks noGrp="1"/>
          </p:cNvSpPr>
          <p:nvPr>
            <p:ph type="ctrTitle"/>
          </p:nvPr>
        </p:nvSpPr>
        <p:spPr>
          <a:xfrm>
            <a:off x="3156141" y="2469494"/>
            <a:ext cx="6701710" cy="948432"/>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8" name="Subtitle 2"/>
          <p:cNvSpPr>
            <a:spLocks noGrp="1"/>
          </p:cNvSpPr>
          <p:nvPr>
            <p:ph type="subTitle" idx="1"/>
          </p:nvPr>
        </p:nvSpPr>
        <p:spPr>
          <a:xfrm>
            <a:off x="3156140" y="3550285"/>
            <a:ext cx="6701711" cy="711811"/>
          </a:xfrm>
        </p:spPr>
        <p:txBody>
          <a:bodyPr/>
          <a:lstStyle>
            <a:lvl1pPr marL="0" indent="0" algn="l">
              <a:buNone/>
              <a:defRPr sz="2159">
                <a:solidFill>
                  <a:srgbClr val="404040"/>
                </a:solidFill>
                <a:latin typeface="+mn-lt"/>
                <a:cs typeface="Arial" pitchFamily="34" charset="0"/>
              </a:defRPr>
            </a:lvl1pPr>
            <a:lvl2pPr marL="0" indent="0" algn="l">
              <a:buNone/>
              <a:defRPr sz="2000">
                <a:solidFill>
                  <a:srgbClr val="404040"/>
                </a:solidFill>
              </a:defRPr>
            </a:lvl2pPr>
            <a:lvl3pPr marL="0" indent="0" algn="l">
              <a:buNone/>
              <a:defRPr sz="1727">
                <a:solidFill>
                  <a:srgbClr val="404040"/>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pPr lvl="1"/>
            <a:r>
              <a:rPr lang="en-US" dirty="0"/>
              <a:t>Click to edit Master subtitle style</a:t>
            </a:r>
            <a:endParaRPr lang="en-GB" dirty="0"/>
          </a:p>
        </p:txBody>
      </p:sp>
      <p:pic>
        <p:nvPicPr>
          <p:cNvPr id="8"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04325" y="5886467"/>
            <a:ext cx="1065892" cy="1275343"/>
          </a:xfrm>
          <a:prstGeom prst="rect">
            <a:avLst/>
          </a:prstGeom>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534591" y="1571462"/>
            <a:ext cx="9622632" cy="517975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8"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4" name="Date Placeholder 3"/>
          <p:cNvSpPr>
            <a:spLocks noGrp="1"/>
          </p:cNvSpPr>
          <p:nvPr>
            <p:ph type="dt" sz="half" idx="10"/>
          </p:nvPr>
        </p:nvSpPr>
        <p:spPr/>
        <p:txBody>
          <a:bodyPr/>
          <a:lstStyle/>
          <a:p>
            <a:fld id="{331920D8-7BBD-4173-8CCD-0777969364A1}"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534591" y="1571459"/>
            <a:ext cx="9622632" cy="5179752"/>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7F7961FE-D142-477E-A53F-9388593D4FCD}"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
        <p:nvSpPr>
          <p:cNvPr id="9"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704506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34590" y="222227"/>
            <a:ext cx="9626345" cy="92859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534591" y="1571459"/>
            <a:ext cx="9622632" cy="5179752"/>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E52EF1E3-A82E-4776-9FAB-3E4A1855D9C5}"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534591" y="1571459"/>
            <a:ext cx="9622632" cy="5179752"/>
          </a:xfrm>
        </p:spPr>
        <p:txBody>
          <a:bodyPr/>
          <a:lstStyle>
            <a:lvl1pPr marL="0" indent="0">
              <a:buNone/>
              <a:defRPr>
                <a:solidFill>
                  <a:schemeClr val="bg1"/>
                </a:solidFill>
                <a:latin typeface="+mn-lt"/>
                <a:cs typeface="Arial" pitchFamily="34" charset="0"/>
              </a:defRPr>
            </a:lvl1pPr>
            <a:lvl2pPr marL="384896">
              <a:defRPr>
                <a:solidFill>
                  <a:schemeClr val="bg1"/>
                </a:solidFill>
                <a:latin typeface="+mn-lt"/>
                <a:cs typeface="Arial" pitchFamily="34" charset="0"/>
              </a:defRPr>
            </a:lvl2pPr>
            <a:lvl3pPr marL="769791">
              <a:defRPr>
                <a:solidFill>
                  <a:schemeClr val="bg1"/>
                </a:solidFill>
                <a:latin typeface="+mn-lt"/>
                <a:cs typeface="Arial" pitchFamily="34" charset="0"/>
              </a:defRPr>
            </a:lvl3pPr>
            <a:lvl4pPr marL="1154687">
              <a:defRPr>
                <a:solidFill>
                  <a:schemeClr val="bg1"/>
                </a:solidFill>
                <a:latin typeface="+mn-lt"/>
                <a:cs typeface="Arial" pitchFamily="34" charset="0"/>
              </a:defRPr>
            </a:lvl4pPr>
            <a:lvl5pPr marL="1539583">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C2D3FA51-18EA-441F-9CF8-E2F09D06C65E}"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
        <p:nvSpPr>
          <p:cNvPr id="9"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8"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3" name="Date Placeholder 2"/>
          <p:cNvSpPr>
            <a:spLocks noGrp="1"/>
          </p:cNvSpPr>
          <p:nvPr>
            <p:ph type="dt" sz="half" idx="10"/>
          </p:nvPr>
        </p:nvSpPr>
        <p:spPr/>
        <p:txBody>
          <a:bodyPr/>
          <a:lstStyle/>
          <a:p>
            <a:fld id="{035BCFB5-0484-42C2-BE63-B85413B46F22}" type="datetime3">
              <a:rPr lang="en-US" smtClean="0"/>
              <a:t>19 March 2018</a:t>
            </a:fld>
            <a:endParaRPr lang="en-US" dirty="0"/>
          </a:p>
        </p:txBody>
      </p:sp>
      <p:sp>
        <p:nvSpPr>
          <p:cNvPr id="4" name="Footer Placeholder 3"/>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p:spPr>
        <p:txBody>
          <a:bodyPr/>
          <a:lstStyle>
            <a:lvl1pPr>
              <a:defRPr>
                <a:solidFill>
                  <a:schemeClr val="bg1"/>
                </a:solidFill>
              </a:defRPr>
            </a:lvl1pPr>
          </a:lstStyle>
          <a:p>
            <a:r>
              <a:rPr lang="en-US" dirty="0"/>
              <a:t>Click to edit Master title style</a:t>
            </a:r>
            <a:endParaRPr lang="en-GB" dirty="0"/>
          </a:p>
        </p:txBody>
      </p:sp>
      <p:sp>
        <p:nvSpPr>
          <p:cNvPr id="8"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3" name="Date Placeholder 2"/>
          <p:cNvSpPr>
            <a:spLocks noGrp="1"/>
          </p:cNvSpPr>
          <p:nvPr>
            <p:ph type="dt" sz="half" idx="10"/>
          </p:nvPr>
        </p:nvSpPr>
        <p:spPr/>
        <p:txBody>
          <a:bodyPr/>
          <a:lstStyle/>
          <a:p>
            <a:fld id="{519DC9DA-47CD-4DD9-BFBC-20A056A56FD4}" type="datetime3">
              <a:rPr lang="en-US" smtClean="0"/>
              <a:t>19 March 2018</a:t>
            </a:fld>
            <a:endParaRPr lang="en-US" dirty="0"/>
          </a:p>
        </p:txBody>
      </p:sp>
      <p:sp>
        <p:nvSpPr>
          <p:cNvPr id="4" name="Footer Placeholder 3"/>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38173977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534591" y="1572413"/>
            <a:ext cx="4722217" cy="5171026"/>
          </a:xfr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943"/>
            </a:lvl6pPr>
            <a:lvl7pPr>
              <a:defRPr sz="1943"/>
            </a:lvl7pPr>
            <a:lvl8pPr>
              <a:defRPr sz="1943"/>
            </a:lvl8pPr>
            <a:lvl9pPr>
              <a:defRPr sz="194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5435005" y="1572413"/>
            <a:ext cx="4722217" cy="5171026"/>
          </a:xfr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943"/>
            </a:lvl6pPr>
            <a:lvl7pPr>
              <a:defRPr sz="1943"/>
            </a:lvl7pPr>
            <a:lvl8pPr>
              <a:defRPr sz="1943"/>
            </a:lvl8pPr>
            <a:lvl9pPr>
              <a:defRPr sz="194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12"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5" name="Date Placeholder 4"/>
          <p:cNvSpPr>
            <a:spLocks noGrp="1"/>
          </p:cNvSpPr>
          <p:nvPr>
            <p:ph type="dt" sz="half" idx="10"/>
          </p:nvPr>
        </p:nvSpPr>
        <p:spPr/>
        <p:txBody>
          <a:bodyPr/>
          <a:lstStyle/>
          <a:p>
            <a:fld id="{802F6B20-3E61-4818-B463-45FB3AE6D36A}" type="datetime3">
              <a:rPr lang="en-US" smtClean="0"/>
              <a:t>19 March 2018</a:t>
            </a:fld>
            <a:endParaRPr lang="en-US" dirty="0"/>
          </a:p>
        </p:txBody>
      </p:sp>
      <p:sp>
        <p:nvSpPr>
          <p:cNvPr id="6" name="Footer Placeholder 5"/>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534591" y="2338136"/>
            <a:ext cx="4727128" cy="4403707"/>
          </a:xfr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943"/>
            </a:lvl6pPr>
            <a:lvl7pPr>
              <a:defRPr sz="1943"/>
            </a:lvl7pPr>
            <a:lvl8pPr>
              <a:defRPr sz="1943"/>
            </a:lvl8pPr>
            <a:lvl9pPr>
              <a:defRPr sz="194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5438513" y="2338136"/>
            <a:ext cx="4727128" cy="4403707"/>
          </a:xfrm>
        </p:spPr>
        <p:txBody>
          <a:bodyPr/>
          <a:lstStyle>
            <a:lvl1pPr>
              <a:defRPr sz="2400">
                <a:solidFill>
                  <a:schemeClr val="bg1"/>
                </a:solidFill>
              </a:defRPr>
            </a:lvl1pPr>
            <a:lvl2pPr>
              <a:defRPr sz="2000">
                <a:solidFill>
                  <a:schemeClr val="bg1"/>
                </a:solidFill>
              </a:defRPr>
            </a:lvl2pPr>
            <a:lvl3pPr>
              <a:defRPr sz="1800">
                <a:solidFill>
                  <a:schemeClr val="bg1"/>
                </a:solidFill>
              </a:defRPr>
            </a:lvl3pPr>
            <a:lvl4pPr>
              <a:defRPr sz="1600">
                <a:solidFill>
                  <a:schemeClr val="bg1"/>
                </a:solidFill>
              </a:defRPr>
            </a:lvl4pPr>
            <a:lvl5pPr>
              <a:defRPr sz="1600">
                <a:solidFill>
                  <a:schemeClr val="bg1"/>
                </a:solidFill>
              </a:defRPr>
            </a:lvl5pPr>
            <a:lvl6pPr>
              <a:defRPr sz="1943"/>
            </a:lvl6pPr>
            <a:lvl7pPr>
              <a:defRPr sz="1943"/>
            </a:lvl7pPr>
            <a:lvl8pPr>
              <a:defRPr sz="1943"/>
            </a:lvl8pPr>
            <a:lvl9pPr>
              <a:defRPr sz="194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10" name="Text Placeholder 9"/>
          <p:cNvSpPr>
            <a:spLocks noGrp="1"/>
          </p:cNvSpPr>
          <p:nvPr>
            <p:ph type="body" sz="quarter" idx="12"/>
          </p:nvPr>
        </p:nvSpPr>
        <p:spPr>
          <a:xfrm>
            <a:off x="534591" y="1572413"/>
            <a:ext cx="4727128" cy="706363"/>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5438513" y="1572413"/>
            <a:ext cx="4727128" cy="706363"/>
          </a:xfrm>
        </p:spPr>
        <p:txBody>
          <a:bodyPr anchor="t" anchorCtr="0"/>
          <a:lstStyle>
            <a:lvl1pPr>
              <a:buNone/>
              <a:defRPr b="1">
                <a:solidFill>
                  <a:schemeClr val="bg1"/>
                </a:solidFill>
              </a:defRPr>
            </a:lvl1pPr>
          </a:lstStyle>
          <a:p>
            <a:pPr lvl="0"/>
            <a:endParaRPr lang="en-GB" dirty="0"/>
          </a:p>
        </p:txBody>
      </p:sp>
      <p:sp>
        <p:nvSpPr>
          <p:cNvPr id="9"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5" name="Date Placeholder 4"/>
          <p:cNvSpPr>
            <a:spLocks noGrp="1"/>
          </p:cNvSpPr>
          <p:nvPr>
            <p:ph type="dt" sz="half" idx="14"/>
          </p:nvPr>
        </p:nvSpPr>
        <p:spPr/>
        <p:txBody>
          <a:bodyPr/>
          <a:lstStyle/>
          <a:p>
            <a:fld id="{D38F3C64-6EC5-47F6-9326-C648BACE2235}" type="datetime3">
              <a:rPr lang="en-US" smtClean="0"/>
              <a:t>19 March 2018</a:t>
            </a:fld>
            <a:endParaRPr lang="en-US" dirty="0"/>
          </a:p>
        </p:txBody>
      </p:sp>
      <p:sp>
        <p:nvSpPr>
          <p:cNvPr id="6" name="Footer Placeholder 5"/>
          <p:cNvSpPr>
            <a:spLocks noGrp="1"/>
          </p:cNvSpPr>
          <p:nvPr>
            <p:ph type="ftr" sz="quarter" idx="15"/>
          </p:nvPr>
        </p:nvSpPr>
        <p:spPr/>
        <p:txBody>
          <a:bodyPr/>
          <a:lstStyle/>
          <a:p>
            <a:r>
              <a:rPr lang="en-GB" dirty="0" err="1"/>
              <a:t>Unternehmenstransaktionen</a:t>
            </a:r>
            <a:r>
              <a:rPr lang="en-GB" dirty="0"/>
              <a:t> in der </a:t>
            </a:r>
            <a:r>
              <a:rPr lang="en-GB" dirty="0" err="1"/>
              <a:t>Schweiz</a:t>
            </a:r>
            <a:endParaRPr lang="en-GB"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32736" y="1130453"/>
            <a:ext cx="9622632" cy="181117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endParaRPr>
          </a:p>
        </p:txBody>
      </p:sp>
      <p:sp>
        <p:nvSpPr>
          <p:cNvPr id="2" name="Date Placeholder 1"/>
          <p:cNvSpPr>
            <a:spLocks noGrp="1"/>
          </p:cNvSpPr>
          <p:nvPr>
            <p:ph type="dt" sz="half" idx="12"/>
          </p:nvPr>
        </p:nvSpPr>
        <p:spPr/>
        <p:txBody>
          <a:bodyPr/>
          <a:lstStyle/>
          <a:p>
            <a:fld id="{B138A5CB-EB21-49D8-BE79-89D61A2E1907}" type="datetime3">
              <a:rPr lang="en-US" smtClean="0"/>
              <a:t>19 March 2018</a:t>
            </a:fld>
            <a:endParaRPr lang="en-US" dirty="0"/>
          </a:p>
        </p:txBody>
      </p:sp>
      <p:sp>
        <p:nvSpPr>
          <p:cNvPr id="4" name="Footer Placeholder 3"/>
          <p:cNvSpPr>
            <a:spLocks noGrp="1"/>
          </p:cNvSpPr>
          <p:nvPr>
            <p:ph type="ftr" sz="quarter" idx="13"/>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591" y="221750"/>
            <a:ext cx="9622632" cy="88700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34591" y="1149071"/>
            <a:ext cx="9622632" cy="5715254"/>
          </a:xfrm>
          <a:custGeom>
            <a:avLst/>
            <a:gdLst>
              <a:gd name="connsiteX0" fmla="*/ 0 w 10000"/>
              <a:gd name="connsiteY0" fmla="*/ 0 h 10000"/>
              <a:gd name="connsiteX1" fmla="*/ 0 w 10000"/>
              <a:gd name="connsiteY1" fmla="*/ 10000 h 10000"/>
              <a:gd name="connsiteX2" fmla="*/ 10000 w 10000"/>
              <a:gd name="connsiteY2" fmla="*/ 6964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6964"/>
                </a:lnTo>
                <a:lnTo>
                  <a:pt x="10000" y="0"/>
                </a:lnTo>
                <a:lnTo>
                  <a:pt x="0" y="0"/>
                </a:lnTo>
                <a:close/>
              </a:path>
            </a:pathLst>
          </a:custGeom>
          <a:solidFill>
            <a:schemeClr val="accent2"/>
          </a:solidFill>
          <a:ln w="9525">
            <a:noFill/>
            <a:round/>
            <a:headEnd/>
            <a:tailEnd/>
          </a:ln>
        </p:spPr>
        <p:txBody>
          <a:bodyPr vert="horz" wrap="square" lIns="98694" tIns="49347" rIns="98694" bIns="49347" numCol="1" anchor="t" anchorCtr="0" compatLnSpc="1">
            <a:prstTxWarp prst="textNoShape">
              <a:avLst/>
            </a:prstTxWarp>
          </a:bodyPr>
          <a:lstStyle/>
          <a:p>
            <a:endParaRPr lang="en-GB" sz="2115">
              <a:solidFill>
                <a:schemeClr val="bg1"/>
              </a:solidFill>
            </a:endParaRPr>
          </a:p>
        </p:txBody>
      </p:sp>
      <p:sp>
        <p:nvSpPr>
          <p:cNvPr id="2" name="Date Placeholder 1"/>
          <p:cNvSpPr>
            <a:spLocks noGrp="1"/>
          </p:cNvSpPr>
          <p:nvPr>
            <p:ph type="dt" sz="half" idx="10"/>
          </p:nvPr>
        </p:nvSpPr>
        <p:spPr/>
        <p:txBody>
          <a:bodyPr/>
          <a:lstStyle/>
          <a:p>
            <a:fld id="{1CA790A2-0655-439A-A498-0ECC86385C75}" type="datetime3">
              <a:rPr lang="en-US" smtClean="0"/>
              <a:t>19 March 2018</a:t>
            </a:fld>
            <a:endParaRPr lang="en-US" dirty="0"/>
          </a:p>
        </p:txBody>
      </p:sp>
      <p:sp>
        <p:nvSpPr>
          <p:cNvPr id="3" name="Footer Placeholder 2"/>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591" y="221750"/>
            <a:ext cx="9622632" cy="88700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34591" y="1149071"/>
            <a:ext cx="9622632" cy="5715254"/>
          </a:xfrm>
          <a:custGeom>
            <a:avLst/>
            <a:gdLst>
              <a:gd name="connsiteX0" fmla="*/ 0 w 10000"/>
              <a:gd name="connsiteY0" fmla="*/ 0 h 10000"/>
              <a:gd name="connsiteX1" fmla="*/ 0 w 10000"/>
              <a:gd name="connsiteY1" fmla="*/ 10000 h 10000"/>
              <a:gd name="connsiteX2" fmla="*/ 10000 w 10000"/>
              <a:gd name="connsiteY2" fmla="*/ 6970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6970"/>
                </a:lnTo>
                <a:lnTo>
                  <a:pt x="10000" y="0"/>
                </a:lnTo>
                <a:lnTo>
                  <a:pt x="0" y="0"/>
                </a:lnTo>
                <a:close/>
              </a:path>
            </a:pathLst>
          </a:custGeom>
          <a:solidFill>
            <a:schemeClr val="accent1"/>
          </a:solidFill>
          <a:ln w="9525">
            <a:noFill/>
            <a:round/>
            <a:headEnd/>
            <a:tailEnd/>
          </a:ln>
        </p:spPr>
        <p:txBody>
          <a:bodyPr vert="horz" wrap="square" lIns="98694" tIns="49347" rIns="98694" bIns="49347" numCol="1" anchor="t" anchorCtr="0" compatLnSpc="1">
            <a:prstTxWarp prst="textNoShape">
              <a:avLst/>
            </a:prstTxWarp>
          </a:bodyPr>
          <a:lstStyle/>
          <a:p>
            <a:endParaRPr lang="en-GB" sz="2115">
              <a:solidFill>
                <a:schemeClr val="bg1"/>
              </a:solidFill>
            </a:endParaRPr>
          </a:p>
        </p:txBody>
      </p:sp>
      <p:sp>
        <p:nvSpPr>
          <p:cNvPr id="2" name="Date Placeholder 1"/>
          <p:cNvSpPr>
            <a:spLocks noGrp="1"/>
          </p:cNvSpPr>
          <p:nvPr>
            <p:ph type="dt" sz="half" idx="10"/>
          </p:nvPr>
        </p:nvSpPr>
        <p:spPr/>
        <p:txBody>
          <a:bodyPr/>
          <a:lstStyle/>
          <a:p>
            <a:fld id="{B5010BF2-DD7C-4909-B3B5-DAEAD7A3F5FD}" type="datetime3">
              <a:rPr lang="en-US" smtClean="0"/>
              <a:t>19 March 2018</a:t>
            </a:fld>
            <a:endParaRPr lang="en-US" dirty="0"/>
          </a:p>
        </p:txBody>
      </p:sp>
      <p:sp>
        <p:nvSpPr>
          <p:cNvPr id="3" name="Footer Placeholder 2"/>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591" y="221750"/>
            <a:ext cx="9622632" cy="88700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dirty="0"/>
              <a:t>Click to edit Master title style</a:t>
            </a:r>
          </a:p>
        </p:txBody>
      </p:sp>
      <p:sp>
        <p:nvSpPr>
          <p:cNvPr id="5" name="Freeform 5"/>
          <p:cNvSpPr>
            <a:spLocks/>
          </p:cNvSpPr>
          <p:nvPr userDrawn="1"/>
        </p:nvSpPr>
        <p:spPr bwMode="gray">
          <a:xfrm>
            <a:off x="534591" y="1146849"/>
            <a:ext cx="9622632" cy="5715254"/>
          </a:xfrm>
          <a:custGeom>
            <a:avLst/>
            <a:gdLst>
              <a:gd name="connsiteX0" fmla="*/ 0 w 10000"/>
              <a:gd name="connsiteY0" fmla="*/ 0 h 10000"/>
              <a:gd name="connsiteX1" fmla="*/ 0 w 10000"/>
              <a:gd name="connsiteY1" fmla="*/ 10000 h 10000"/>
              <a:gd name="connsiteX2" fmla="*/ 10000 w 10000"/>
              <a:gd name="connsiteY2" fmla="*/ 6970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6970"/>
                </a:lnTo>
                <a:lnTo>
                  <a:pt x="10000" y="0"/>
                </a:lnTo>
                <a:lnTo>
                  <a:pt x="0" y="0"/>
                </a:lnTo>
                <a:close/>
              </a:path>
            </a:pathLst>
          </a:custGeom>
          <a:blipFill dpi="0" rotWithShape="1">
            <a:blip r:embed="rId2" cstate="print"/>
            <a:srcRect/>
            <a:stretch>
              <a:fillRect/>
            </a:stretch>
          </a:blipFill>
          <a:ln w="9525">
            <a:noFill/>
            <a:round/>
            <a:headEnd/>
            <a:tailEnd/>
          </a:ln>
        </p:spPr>
        <p:txBody>
          <a:bodyPr vert="horz" wrap="square" lIns="98694" tIns="49347" rIns="98694" bIns="49347" numCol="1" anchor="t" anchorCtr="0" compatLnSpc="1">
            <a:prstTxWarp prst="textNoShape">
              <a:avLst/>
            </a:prstTxWarp>
          </a:bodyPr>
          <a:lstStyle/>
          <a:p>
            <a:endParaRPr lang="en-GB" sz="2115">
              <a:solidFill>
                <a:schemeClr val="bg1"/>
              </a:solidFill>
            </a:endParaRPr>
          </a:p>
        </p:txBody>
      </p:sp>
      <p:sp>
        <p:nvSpPr>
          <p:cNvPr id="2" name="Date Placeholder 1"/>
          <p:cNvSpPr>
            <a:spLocks noGrp="1"/>
          </p:cNvSpPr>
          <p:nvPr>
            <p:ph type="dt" sz="half" idx="10"/>
          </p:nvPr>
        </p:nvSpPr>
        <p:spPr/>
        <p:txBody>
          <a:bodyPr/>
          <a:lstStyle/>
          <a:p>
            <a:fld id="{823F439B-3B47-4879-9F1E-E7C0EB27C71D}" type="datetime3">
              <a:rPr lang="en-US" smtClean="0"/>
              <a:t>19 March 2018</a:t>
            </a:fld>
            <a:endParaRPr lang="en-US" dirty="0"/>
          </a:p>
        </p:txBody>
      </p:sp>
      <p:sp>
        <p:nvSpPr>
          <p:cNvPr id="3" name="Footer Placeholder 2"/>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532735" y="6882455"/>
            <a:ext cx="9622632" cy="0"/>
          </a:xfrm>
          <a:prstGeom prst="line">
            <a:avLst/>
          </a:prstGeom>
          <a:noFill/>
          <a:ln w="3175">
            <a:solidFill>
              <a:srgbClr val="808080"/>
            </a:solidFill>
            <a:round/>
            <a:headEnd/>
            <a:tailEnd/>
          </a:ln>
          <a:effectLst/>
        </p:spPr>
        <p:txBody>
          <a:bodyPr wrap="none" anchor="ctr"/>
          <a:lstStyle/>
          <a:p>
            <a:endParaRPr lang="en-US" sz="2115" noProof="0" dirty="0">
              <a:solidFill>
                <a:schemeClr val="bg1"/>
              </a:solidFill>
            </a:endParaRPr>
          </a:p>
        </p:txBody>
      </p:sp>
      <p:sp>
        <p:nvSpPr>
          <p:cNvPr id="2" name="Date Placeholder 1"/>
          <p:cNvSpPr>
            <a:spLocks noGrp="1"/>
          </p:cNvSpPr>
          <p:nvPr>
            <p:ph type="dt" sz="half" idx="10"/>
          </p:nvPr>
        </p:nvSpPr>
        <p:spPr/>
        <p:txBody>
          <a:bodyPr/>
          <a:lstStyle/>
          <a:p>
            <a:fld id="{26CBB070-715C-4069-93EB-D7D550265937}" type="datetime3">
              <a:rPr lang="en-US" smtClean="0"/>
              <a:t>19 March 2018</a:t>
            </a:fld>
            <a:endParaRPr lang="en-US" dirty="0"/>
          </a:p>
        </p:txBody>
      </p:sp>
      <p:sp>
        <p:nvSpPr>
          <p:cNvPr id="3" name="Footer Placeholder 2"/>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33506808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534590" y="222227"/>
            <a:ext cx="9626345" cy="948432"/>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534591" y="1571459"/>
            <a:ext cx="9622632" cy="5179752"/>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6BBB0236-3B60-4361-BC89-D94487AE3F91}"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35631518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532734" y="792717"/>
            <a:ext cx="4099931" cy="5743129"/>
          </a:xfrm>
        </p:spPr>
        <p:txBody>
          <a:bodyPr/>
          <a:lstStyle>
            <a:lvl1pPr marL="0" indent="0" algn="l" defTabSz="1074295" rtl="0" fontAlgn="base">
              <a:lnSpc>
                <a:spcPct val="100000"/>
              </a:lnSpc>
              <a:spcBef>
                <a:spcPct val="70000"/>
              </a:spcBef>
              <a:spcAft>
                <a:spcPct val="0"/>
              </a:spcAft>
              <a:buSzPct val="100000"/>
              <a:buNone/>
              <a:defRPr lang="en-US" sz="1295" kern="1200" noProof="0" dirty="0" smtClean="0">
                <a:solidFill>
                  <a:schemeClr val="bg1"/>
                </a:solidFill>
                <a:latin typeface="+mn-lt"/>
                <a:ea typeface="+mn-ea"/>
                <a:cs typeface="Arial" pitchFamily="34" charset="0"/>
              </a:defRPr>
            </a:lvl1pPr>
            <a:lvl2pPr marL="0" indent="0" algn="l" defTabSz="1074295" rtl="0" fontAlgn="base">
              <a:lnSpc>
                <a:spcPct val="100000"/>
              </a:lnSpc>
              <a:spcBef>
                <a:spcPct val="0"/>
              </a:spcBef>
              <a:spcAft>
                <a:spcPct val="0"/>
              </a:spcAft>
              <a:buSzPct val="100000"/>
              <a:buNone/>
              <a:defRPr lang="en-US" sz="971" b="1" kern="1200" noProof="0" dirty="0" smtClean="0">
                <a:solidFill>
                  <a:schemeClr val="bg1"/>
                </a:solidFill>
                <a:latin typeface="+mn-lt"/>
                <a:ea typeface="+mn-ea"/>
                <a:cs typeface="Arial" pitchFamily="34" charset="0"/>
              </a:defRPr>
            </a:lvl2pPr>
            <a:lvl3pPr marL="190187" indent="-190187" algn="l" defTabSz="1074295" rtl="0" fontAlgn="base">
              <a:lnSpc>
                <a:spcPct val="100000"/>
              </a:lnSpc>
              <a:spcBef>
                <a:spcPct val="0"/>
              </a:spcBef>
              <a:spcAft>
                <a:spcPct val="0"/>
              </a:spcAft>
              <a:buClr>
                <a:schemeClr val="accent2"/>
              </a:buClr>
              <a:buSzPct val="70000"/>
              <a:buFont typeface="Arial" pitchFamily="34" charset="0"/>
              <a:buChar char="►"/>
              <a:defRPr lang="en-US" sz="971" b="1" kern="1200" noProof="0" dirty="0" smtClean="0">
                <a:solidFill>
                  <a:schemeClr val="bg1"/>
                </a:solidFill>
                <a:latin typeface="+mn-lt"/>
                <a:ea typeface="+mn-ea"/>
                <a:cs typeface="Arial" pitchFamily="34" charset="0"/>
              </a:defRPr>
            </a:lvl3pPr>
            <a:lvl4pPr marL="0" indent="0" algn="l" defTabSz="1074295" rtl="0" fontAlgn="base">
              <a:lnSpc>
                <a:spcPct val="100000"/>
              </a:lnSpc>
              <a:spcBef>
                <a:spcPct val="0"/>
              </a:spcBef>
              <a:spcAft>
                <a:spcPct val="0"/>
              </a:spcAft>
              <a:buSzPct val="100000"/>
              <a:buNone/>
              <a:defRPr lang="en-US" sz="863" kern="1200" noProof="0" dirty="0" smtClean="0">
                <a:solidFill>
                  <a:schemeClr val="bg1"/>
                </a:solidFill>
                <a:latin typeface="+mn-lt"/>
                <a:ea typeface="+mn-ea"/>
                <a:cs typeface="Arial" pitchFamily="34" charset="0"/>
              </a:defRPr>
            </a:lvl4pPr>
            <a:lvl5pPr marL="203894" indent="-203894" algn="l" defTabSz="1074295" rtl="0" fontAlgn="base">
              <a:lnSpc>
                <a:spcPct val="100000"/>
              </a:lnSpc>
              <a:spcBef>
                <a:spcPct val="0"/>
              </a:spcBef>
              <a:spcAft>
                <a:spcPct val="0"/>
              </a:spcAft>
              <a:buClr>
                <a:schemeClr val="accent2"/>
              </a:buClr>
              <a:buSzPct val="70000"/>
              <a:buFont typeface="Arial" pitchFamily="34" charset="0"/>
              <a:buChar char="►"/>
              <a:defRPr lang="en-US" sz="863" kern="1200" noProof="0" dirty="0">
                <a:solidFill>
                  <a:schemeClr val="bg1"/>
                </a:solidFill>
                <a:latin typeface="+mn-lt"/>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0900077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SA_Pursuits_leere_Seite">
    <p:spTree>
      <p:nvGrpSpPr>
        <p:cNvPr id="1" name=""/>
        <p:cNvGrpSpPr/>
        <p:nvPr/>
      </p:nvGrpSpPr>
      <p:grpSpPr>
        <a:xfrm>
          <a:off x="0" y="0"/>
          <a:ext cx="0" cy="0"/>
          <a:chOff x="0" y="0"/>
          <a:chExt cx="0" cy="0"/>
        </a:xfrm>
      </p:grpSpPr>
      <p:sp>
        <p:nvSpPr>
          <p:cNvPr id="5" name="Rechteck 4"/>
          <p:cNvSpPr/>
          <p:nvPr userDrawn="1"/>
        </p:nvSpPr>
        <p:spPr bwMode="gray">
          <a:xfrm>
            <a:off x="219044" y="6947524"/>
            <a:ext cx="3891488" cy="61215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1187" tIns="61187" rIns="61187" bIns="61187" numCol="1" spcCol="0" rtlCol="0" fromWordArt="0" anchor="t" anchorCtr="0" forceAA="0" compatLnSpc="1">
            <a:prstTxWarp prst="textNoShape">
              <a:avLst/>
            </a:prstTxWarp>
            <a:noAutofit/>
          </a:bodyPr>
          <a:lstStyle/>
          <a:p>
            <a:pPr algn="l" eaLnBrk="1" hangingPunct="1">
              <a:spcBef>
                <a:spcPct val="0"/>
              </a:spcBef>
              <a:spcAft>
                <a:spcPct val="50000"/>
              </a:spcAft>
              <a:buClr>
                <a:srgbClr val="FFE600"/>
              </a:buClr>
              <a:buSzPct val="80000"/>
              <a:buFont typeface="Arial" charset="0"/>
              <a:buNone/>
            </a:pPr>
            <a:endParaRPr lang="de-DE" sz="1000" dirty="0" err="1">
              <a:solidFill>
                <a:srgbClr val="000000"/>
              </a:solidFill>
            </a:endParaRPr>
          </a:p>
        </p:txBody>
      </p:sp>
    </p:spTree>
    <p:extLst>
      <p:ext uri="{BB962C8B-B14F-4D97-AF65-F5344CB8AC3E}">
        <p14:creationId xmlns:p14="http://schemas.microsoft.com/office/powerpoint/2010/main" val="34573788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8" name="Rectangle 1"/>
          <p:cNvSpPr>
            <a:spLocks noChangeAspect="1"/>
          </p:cNvSpPr>
          <p:nvPr userDrawn="1"/>
        </p:nvSpPr>
        <p:spPr>
          <a:xfrm>
            <a:off x="2867571" y="856764"/>
            <a:ext cx="7291509" cy="3748339"/>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95" dirty="0">
              <a:solidFill>
                <a:schemeClr val="tx1"/>
              </a:solidFill>
            </a:endParaRPr>
          </a:p>
        </p:txBody>
      </p:sp>
      <p:sp>
        <p:nvSpPr>
          <p:cNvPr id="17" name="Title 1"/>
          <p:cNvSpPr>
            <a:spLocks noGrp="1"/>
          </p:cNvSpPr>
          <p:nvPr>
            <p:ph type="ctrTitle"/>
          </p:nvPr>
        </p:nvSpPr>
        <p:spPr>
          <a:xfrm>
            <a:off x="3156141" y="2469494"/>
            <a:ext cx="6701710" cy="948432"/>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8" name="Subtitle 2"/>
          <p:cNvSpPr>
            <a:spLocks noGrp="1"/>
          </p:cNvSpPr>
          <p:nvPr>
            <p:ph type="subTitle" idx="1"/>
          </p:nvPr>
        </p:nvSpPr>
        <p:spPr>
          <a:xfrm>
            <a:off x="3156140" y="3550285"/>
            <a:ext cx="6701711" cy="711811"/>
          </a:xfrm>
        </p:spPr>
        <p:txBody>
          <a:bodyPr/>
          <a:lstStyle>
            <a:lvl1pPr marL="0" indent="0" algn="l">
              <a:buNone/>
              <a:defRPr sz="2000">
                <a:solidFill>
                  <a:srgbClr val="404040"/>
                </a:solidFill>
                <a:latin typeface="+mn-lt"/>
                <a:cs typeface="Arial" pitchFamily="34" charset="0"/>
              </a:defRPr>
            </a:lvl1pPr>
            <a:lvl2pPr marL="0" indent="0" algn="l">
              <a:buNone/>
              <a:defRPr sz="1727">
                <a:solidFill>
                  <a:srgbClr val="404040"/>
                </a:solidFill>
              </a:defRPr>
            </a:lvl2pPr>
            <a:lvl3pPr marL="0" indent="0" algn="l">
              <a:buNone/>
              <a:defRPr sz="1727">
                <a:solidFill>
                  <a:srgbClr val="404040"/>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pPr lvl="0"/>
            <a:r>
              <a:rPr lang="en-US" dirty="0"/>
              <a:t>Click to edit Master subtitle style</a:t>
            </a:r>
            <a:endParaRPr lang="en-GB" dirty="0"/>
          </a:p>
        </p:txBody>
      </p:sp>
      <p:pic>
        <p:nvPicPr>
          <p:cNvPr id="9"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02022" y="5886467"/>
            <a:ext cx="1065892" cy="1275343"/>
          </a:xfrm>
          <a:prstGeom prst="rect">
            <a:avLst/>
          </a:prstGeom>
        </p:spPr>
      </p:pic>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sp>
        <p:nvSpPr>
          <p:cNvPr id="8" name="Freeform 5"/>
          <p:cNvSpPr>
            <a:spLocks noChangeAspect="1"/>
          </p:cNvSpPr>
          <p:nvPr userDrawn="1"/>
        </p:nvSpPr>
        <p:spPr bwMode="gray">
          <a:xfrm rot="10800000">
            <a:off x="4318642" y="503979"/>
            <a:ext cx="5842665" cy="5038034"/>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accent2"/>
          </a:solidFill>
          <a:ln w="9525">
            <a:noFill/>
            <a:round/>
            <a:headEnd/>
            <a:tailEnd/>
          </a:ln>
        </p:spPr>
        <p:txBody>
          <a:bodyPr vert="horz" wrap="square" lIns="98694" tIns="49347" rIns="98694" bIns="49347" numCol="1" anchor="t" anchorCtr="0" compatLnSpc="1">
            <a:prstTxWarp prst="textNoShape">
              <a:avLst/>
            </a:prstTxWarp>
          </a:bodyPr>
          <a:lstStyle/>
          <a:p>
            <a:endParaRPr lang="en-GB" sz="2115"/>
          </a:p>
        </p:txBody>
      </p:sp>
      <p:sp>
        <p:nvSpPr>
          <p:cNvPr id="14" name="Title 1"/>
          <p:cNvSpPr>
            <a:spLocks noGrp="1"/>
          </p:cNvSpPr>
          <p:nvPr>
            <p:ph type="ctrTitle"/>
          </p:nvPr>
        </p:nvSpPr>
        <p:spPr>
          <a:xfrm>
            <a:off x="4591996" y="1849141"/>
            <a:ext cx="5298039" cy="948432"/>
          </a:xfrm>
        </p:spPr>
        <p:txBody>
          <a:bodyPr/>
          <a:lstStyle>
            <a:lvl1pPr>
              <a:defRPr>
                <a:solidFill>
                  <a:srgbClr val="404040"/>
                </a:solidFill>
                <a:latin typeface="+mn-lt"/>
                <a:cs typeface="Arial" pitchFamily="34" charset="0"/>
              </a:defRPr>
            </a:lvl1pPr>
          </a:lstStyle>
          <a:p>
            <a:r>
              <a:rPr lang="en-US" dirty="0"/>
              <a:t>Click to edit Master title style</a:t>
            </a:r>
            <a:endParaRPr lang="en-GB" dirty="0"/>
          </a:p>
        </p:txBody>
      </p:sp>
      <p:sp>
        <p:nvSpPr>
          <p:cNvPr id="15" name="Subtitle 2"/>
          <p:cNvSpPr>
            <a:spLocks noGrp="1"/>
          </p:cNvSpPr>
          <p:nvPr>
            <p:ph type="subTitle" idx="1"/>
          </p:nvPr>
        </p:nvSpPr>
        <p:spPr>
          <a:xfrm>
            <a:off x="4591995" y="2959856"/>
            <a:ext cx="5298041" cy="711811"/>
          </a:xfrm>
        </p:spPr>
        <p:txBody>
          <a:bodyPr/>
          <a:lstStyle>
            <a:lvl1pPr marL="0" indent="0" algn="l">
              <a:buNone/>
              <a:defRPr sz="2000">
                <a:solidFill>
                  <a:srgbClr val="404040"/>
                </a:solidFill>
                <a:latin typeface="+mn-lt"/>
                <a:cs typeface="Arial" pitchFamily="34" charset="0"/>
              </a:defRPr>
            </a:lvl1pPr>
            <a:lvl2pPr marL="0" indent="0" algn="l">
              <a:buNone/>
              <a:defRPr sz="1727">
                <a:solidFill>
                  <a:srgbClr val="404040"/>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pPr lvl="0"/>
            <a:r>
              <a:rPr lang="en-US" dirty="0"/>
              <a:t>Click to edit Master subtitle style</a:t>
            </a:r>
            <a:endParaRPr lang="en-GB" dirty="0"/>
          </a:p>
        </p:txBody>
      </p:sp>
      <p:pic>
        <p:nvPicPr>
          <p:cNvPr id="9"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02022" y="5886467"/>
            <a:ext cx="1065892" cy="1275343"/>
          </a:xfrm>
          <a:prstGeom prst="rect">
            <a:avLst/>
          </a:prstGeom>
        </p:spPr>
      </p:pic>
    </p:spTree>
    <p:extLst>
      <p:ext uri="{BB962C8B-B14F-4D97-AF65-F5344CB8AC3E}">
        <p14:creationId xmlns:p14="http://schemas.microsoft.com/office/powerpoint/2010/main" val="21216263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sp>
        <p:nvSpPr>
          <p:cNvPr id="12" name="Subtitle 2"/>
          <p:cNvSpPr>
            <a:spLocks noGrp="1"/>
          </p:cNvSpPr>
          <p:nvPr>
            <p:ph type="subTitle" idx="1"/>
          </p:nvPr>
        </p:nvSpPr>
        <p:spPr>
          <a:xfrm>
            <a:off x="1037106" y="3591925"/>
            <a:ext cx="6325024" cy="711811"/>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727">
                <a:solidFill>
                  <a:srgbClr val="404040"/>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pPr lvl="0"/>
            <a:r>
              <a:rPr lang="en-US" dirty="0"/>
              <a:t>Click to edit Master subtitle style</a:t>
            </a:r>
            <a:endParaRPr lang="en-GB" dirty="0"/>
          </a:p>
        </p:txBody>
      </p:sp>
      <p:sp>
        <p:nvSpPr>
          <p:cNvPr id="13" name="Title 1"/>
          <p:cNvSpPr>
            <a:spLocks noGrp="1"/>
          </p:cNvSpPr>
          <p:nvPr>
            <p:ph type="ctrTitle"/>
          </p:nvPr>
        </p:nvSpPr>
        <p:spPr>
          <a:xfrm>
            <a:off x="1037106" y="2522188"/>
            <a:ext cx="6325024" cy="948432"/>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pic>
        <p:nvPicPr>
          <p:cNvPr id="15"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6095" y="859214"/>
            <a:ext cx="7288938" cy="3748339"/>
          </a:xfrm>
          <a:prstGeom prst="rect">
            <a:avLst/>
          </a:prstGeom>
        </p:spPr>
      </p:pic>
      <p:pic>
        <p:nvPicPr>
          <p:cNvPr id="16"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6225" y="6481162"/>
            <a:ext cx="4079856" cy="682057"/>
          </a:xfrm>
          <a:prstGeom prst="rect">
            <a:avLst/>
          </a:prstGeom>
        </p:spPr>
      </p:pic>
      <p:pic>
        <p:nvPicPr>
          <p:cNvPr id="17"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02022" y="5886467"/>
            <a:ext cx="1065892" cy="1275343"/>
          </a:xfrm>
          <a:prstGeom prst="rect">
            <a:avLst/>
          </a:prstGeom>
        </p:spPr>
      </p:pic>
    </p:spTree>
    <p:extLst>
      <p:ext uri="{BB962C8B-B14F-4D97-AF65-F5344CB8AC3E}">
        <p14:creationId xmlns:p14="http://schemas.microsoft.com/office/powerpoint/2010/main" val="37223587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Approved question tall">
    <p:spTree>
      <p:nvGrpSpPr>
        <p:cNvPr id="1" name=""/>
        <p:cNvGrpSpPr/>
        <p:nvPr/>
      </p:nvGrpSpPr>
      <p:grpSpPr>
        <a:xfrm>
          <a:off x="0" y="0"/>
          <a:ext cx="0" cy="0"/>
          <a:chOff x="0" y="0"/>
          <a:chExt cx="0" cy="0"/>
        </a:xfrm>
      </p:grpSpPr>
      <p:sp>
        <p:nvSpPr>
          <p:cNvPr id="10" name="Title 1"/>
          <p:cNvSpPr>
            <a:spLocks noGrp="1"/>
          </p:cNvSpPr>
          <p:nvPr>
            <p:ph type="ctrTitle"/>
          </p:nvPr>
        </p:nvSpPr>
        <p:spPr>
          <a:xfrm>
            <a:off x="1037107" y="1983207"/>
            <a:ext cx="4884864" cy="948432"/>
          </a:xfrm>
          <a:prstGeom prst="rect">
            <a:avLst/>
          </a:prstGeom>
        </p:spPr>
        <p:txBody>
          <a:bodyPr/>
          <a:lstStyle>
            <a:lvl1pPr>
              <a:defRPr>
                <a:solidFill>
                  <a:srgbClr val="FFFFFF"/>
                </a:solidFill>
                <a:latin typeface="+mn-lt"/>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1037107" y="3052945"/>
            <a:ext cx="4884864" cy="711811"/>
          </a:xfrm>
          <a:prstGeom prst="rect">
            <a:avLst/>
          </a:prstGeom>
        </p:spPr>
        <p:txBody>
          <a:bodyPr/>
          <a:lstStyle>
            <a:lvl1pPr marL="0" indent="0" algn="l">
              <a:buNone/>
              <a:defRPr sz="2000">
                <a:solidFill>
                  <a:srgbClr val="FFFFFF"/>
                </a:solidFill>
                <a:latin typeface="+mn-lt"/>
                <a:cs typeface="Arial" pitchFamily="34" charset="0"/>
              </a:defRPr>
            </a:lvl1pPr>
            <a:lvl2pPr marL="0" indent="0" algn="l">
              <a:buNone/>
              <a:defRPr sz="1727">
                <a:solidFill>
                  <a:srgbClr val="404040"/>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pPr lvl="0"/>
            <a:r>
              <a:rPr lang="en-US" dirty="0"/>
              <a:t>Click to edit Master subtitle style</a:t>
            </a:r>
            <a:endParaRPr lang="en-GB" dirty="0"/>
          </a:p>
        </p:txBody>
      </p:sp>
      <p:pic>
        <p:nvPicPr>
          <p:cNvPr id="15"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6095" y="503979"/>
            <a:ext cx="5842802" cy="5039783"/>
          </a:xfrm>
          <a:prstGeom prst="rect">
            <a:avLst/>
          </a:prstGeom>
        </p:spPr>
      </p:pic>
      <p:pic>
        <p:nvPicPr>
          <p:cNvPr id="16"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6225" y="6481162"/>
            <a:ext cx="4079856" cy="682057"/>
          </a:xfrm>
          <a:prstGeom prst="rect">
            <a:avLst/>
          </a:prstGeom>
        </p:spPr>
      </p:pic>
      <p:pic>
        <p:nvPicPr>
          <p:cNvPr id="17"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102022" y="5886467"/>
            <a:ext cx="1065892" cy="1275343"/>
          </a:xfrm>
          <a:prstGeom prst="rect">
            <a:avLst/>
          </a:prstGeom>
        </p:spPr>
      </p:pic>
    </p:spTree>
    <p:extLst>
      <p:ext uri="{BB962C8B-B14F-4D97-AF65-F5344CB8AC3E}">
        <p14:creationId xmlns:p14="http://schemas.microsoft.com/office/powerpoint/2010/main" val="159729400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8"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4" name="Date Placeholder 3"/>
          <p:cNvSpPr>
            <a:spLocks noGrp="1"/>
          </p:cNvSpPr>
          <p:nvPr>
            <p:ph type="dt" sz="half" idx="10"/>
          </p:nvPr>
        </p:nvSpPr>
        <p:spPr/>
        <p:txBody>
          <a:bodyPr/>
          <a:lstStyle/>
          <a:p>
            <a:fld id="{C5D56DAC-AB89-46F0-BC38-55B9AB2F5D37}"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534591" y="1571459"/>
            <a:ext cx="9622632" cy="5179752"/>
          </a:xfr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65B39EFB-C62B-4318-AEFE-DFA5D26E2A0B}"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
        <p:nvSpPr>
          <p:cNvPr id="9"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Tree>
    <p:extLst>
      <p:ext uri="{BB962C8B-B14F-4D97-AF65-F5344CB8AC3E}">
        <p14:creationId xmlns:p14="http://schemas.microsoft.com/office/powerpoint/2010/main" val="12891094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p:spPr>
        <p:txBody>
          <a:bodyPr/>
          <a:lstStyle>
            <a:lvl1pPr>
              <a:defRPr>
                <a:solidFill>
                  <a:schemeClr val="bg1"/>
                </a:solidFill>
                <a:latin typeface="+mn-lt"/>
                <a:cs typeface="Arial"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534591" y="1571459"/>
            <a:ext cx="9622632" cy="5179752"/>
          </a:xfrm>
        </p:spPr>
        <p:txBody>
          <a:bodyPr/>
          <a:lstStyle>
            <a:lvl1pPr marL="0" indent="0">
              <a:buNone/>
              <a:defRPr>
                <a:solidFill>
                  <a:schemeClr val="bg1"/>
                </a:solidFill>
                <a:latin typeface="+mn-lt"/>
                <a:cs typeface="Arial" pitchFamily="34" charset="0"/>
              </a:defRPr>
            </a:lvl1pPr>
            <a:lvl2pPr marL="384896">
              <a:defRPr>
                <a:solidFill>
                  <a:schemeClr val="bg1"/>
                </a:solidFill>
                <a:latin typeface="+mn-lt"/>
                <a:cs typeface="Arial" pitchFamily="34" charset="0"/>
              </a:defRPr>
            </a:lvl2pPr>
            <a:lvl3pPr marL="769791">
              <a:defRPr>
                <a:solidFill>
                  <a:schemeClr val="bg1"/>
                </a:solidFill>
                <a:latin typeface="+mn-lt"/>
                <a:cs typeface="Arial" pitchFamily="34" charset="0"/>
              </a:defRPr>
            </a:lvl3pPr>
            <a:lvl4pPr marL="1154687">
              <a:defRPr>
                <a:solidFill>
                  <a:schemeClr val="bg1"/>
                </a:solidFill>
                <a:latin typeface="+mn-lt"/>
                <a:cs typeface="Arial" pitchFamily="34" charset="0"/>
              </a:defRPr>
            </a:lvl4pPr>
            <a:lvl5pPr marL="1539583">
              <a:defRPr>
                <a:solidFill>
                  <a:schemeClr val="bg1"/>
                </a:solidFill>
                <a:latin typeface="+mn-lt"/>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C2D38232-7EE6-4AFD-B09F-8A494BD5C2B8}"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
        <p:nvSpPr>
          <p:cNvPr id="9"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Tree>
    <p:extLst>
      <p:ext uri="{BB962C8B-B14F-4D97-AF65-F5344CB8AC3E}">
        <p14:creationId xmlns:p14="http://schemas.microsoft.com/office/powerpoint/2010/main" val="34619011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534590" y="222227"/>
            <a:ext cx="9626345" cy="948432"/>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534591" y="1571459"/>
            <a:ext cx="9622632" cy="5179752"/>
          </a:xfrm>
          <a:prstGeom prst="rect">
            <a:avLst/>
          </a:prstGeom>
        </p:spPr>
        <p:txBody>
          <a:bodyPr/>
          <a:lstStyle>
            <a:lvl1pPr marL="0" indent="0">
              <a:buNone/>
              <a:defRPr>
                <a:solidFill>
                  <a:schemeClr val="bg1"/>
                </a:solidFill>
                <a:latin typeface="+mn-lt"/>
                <a:cs typeface="Arial" pitchFamily="34" charset="0"/>
              </a:defRPr>
            </a:lvl1pPr>
            <a:lvl2pPr marL="384896">
              <a:defRPr>
                <a:solidFill>
                  <a:schemeClr val="bg1"/>
                </a:solidFill>
                <a:latin typeface="+mn-lt"/>
                <a:cs typeface="Arial" pitchFamily="34" charset="0"/>
              </a:defRPr>
            </a:lvl2pPr>
            <a:lvl3pPr marL="769791">
              <a:defRPr>
                <a:solidFill>
                  <a:schemeClr val="bg1"/>
                </a:solidFill>
                <a:latin typeface="+mn-lt"/>
                <a:cs typeface="Arial" pitchFamily="34" charset="0"/>
              </a:defRPr>
            </a:lvl3pPr>
            <a:lvl4pPr marL="1154687">
              <a:defRPr>
                <a:solidFill>
                  <a:schemeClr val="bg1"/>
                </a:solidFill>
                <a:latin typeface="+mn-lt"/>
                <a:cs typeface="Arial" pitchFamily="34" charset="0"/>
              </a:defRPr>
            </a:lvl4pPr>
            <a:lvl5pPr marL="1539583">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4" name="Date Placeholder 3"/>
          <p:cNvSpPr>
            <a:spLocks noGrp="1"/>
          </p:cNvSpPr>
          <p:nvPr>
            <p:ph type="dt" sz="half" idx="10"/>
          </p:nvPr>
        </p:nvSpPr>
        <p:spPr/>
        <p:txBody>
          <a:bodyPr/>
          <a:lstStyle/>
          <a:p>
            <a:fld id="{AC718E8C-FD28-45C8-9121-ECFEC59310EE}"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30454540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p:spPr>
        <p:txBody>
          <a:bodyPr/>
          <a:lstStyle>
            <a:lvl1pPr>
              <a:defRPr>
                <a:solidFill>
                  <a:schemeClr val="bg1"/>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8"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3" name="Date Placeholder 2"/>
          <p:cNvSpPr>
            <a:spLocks noGrp="1"/>
          </p:cNvSpPr>
          <p:nvPr>
            <p:ph type="dt" sz="half" idx="10"/>
          </p:nvPr>
        </p:nvSpPr>
        <p:spPr/>
        <p:txBody>
          <a:bodyPr/>
          <a:lstStyle/>
          <a:p>
            <a:fld id="{26608F7F-FF19-43A1-ACC1-016E6C698419}" type="datetime3">
              <a:rPr lang="en-US" smtClean="0"/>
              <a:t>19 March 2018</a:t>
            </a:fld>
            <a:endParaRPr lang="en-US" dirty="0"/>
          </a:p>
        </p:txBody>
      </p:sp>
      <p:sp>
        <p:nvSpPr>
          <p:cNvPr id="4" name="Footer Placeholder 3"/>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p:spPr>
        <p:txBody>
          <a:bodyPr/>
          <a:lstStyle>
            <a:lvl1pPr>
              <a:defRPr>
                <a:solidFill>
                  <a:schemeClr val="bg1"/>
                </a:solidFill>
              </a:defRPr>
            </a:lvl1pPr>
          </a:lstStyle>
          <a:p>
            <a:r>
              <a:rPr lang="en-US" dirty="0"/>
              <a:t>Click to edit Master title style</a:t>
            </a:r>
            <a:endParaRPr lang="en-GB" dirty="0"/>
          </a:p>
        </p:txBody>
      </p:sp>
      <p:sp>
        <p:nvSpPr>
          <p:cNvPr id="8"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3" name="Date Placeholder 2"/>
          <p:cNvSpPr>
            <a:spLocks noGrp="1"/>
          </p:cNvSpPr>
          <p:nvPr>
            <p:ph type="dt" sz="half" idx="10"/>
          </p:nvPr>
        </p:nvSpPr>
        <p:spPr/>
        <p:txBody>
          <a:bodyPr/>
          <a:lstStyle/>
          <a:p>
            <a:fld id="{B871F739-F709-4DC4-B909-F0EA7E35E309}" type="datetime3">
              <a:rPr lang="en-US" smtClean="0"/>
              <a:t>19 March 2018</a:t>
            </a:fld>
            <a:endParaRPr lang="en-US" dirty="0"/>
          </a:p>
        </p:txBody>
      </p:sp>
      <p:sp>
        <p:nvSpPr>
          <p:cNvPr id="4" name="Footer Placeholder 3"/>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80509637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534591" y="1572413"/>
            <a:ext cx="4722217" cy="5171026"/>
          </a:xfrm>
        </p:spPr>
        <p:txBody>
          <a:bodyPr/>
          <a:lstStyle>
            <a:lvl1pPr>
              <a:defRPr sz="2400"/>
            </a:lvl1pPr>
            <a:lvl2pPr>
              <a:defRPr sz="2000"/>
            </a:lvl2pPr>
            <a:lvl3pPr>
              <a:defRPr sz="1800"/>
            </a:lvl3pPr>
            <a:lvl4pPr>
              <a:defRPr sz="1600"/>
            </a:lvl4pPr>
            <a:lvl5pPr>
              <a:defRPr sz="1600"/>
            </a:lvl5pPr>
            <a:lvl6pPr>
              <a:defRPr sz="1943"/>
            </a:lvl6pPr>
            <a:lvl7pPr>
              <a:defRPr sz="1943"/>
            </a:lvl7pPr>
            <a:lvl8pPr>
              <a:defRPr sz="1943"/>
            </a:lvl8pPr>
            <a:lvl9pPr>
              <a:defRPr sz="194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5435005" y="1572413"/>
            <a:ext cx="4722217" cy="5171026"/>
          </a:xfrm>
        </p:spPr>
        <p:txBody>
          <a:bodyPr/>
          <a:lstStyle>
            <a:lvl1pPr>
              <a:defRPr sz="2400"/>
            </a:lvl1pPr>
            <a:lvl2pPr>
              <a:defRPr sz="2000"/>
            </a:lvl2pPr>
            <a:lvl3pPr>
              <a:defRPr sz="1800"/>
            </a:lvl3pPr>
            <a:lvl4pPr>
              <a:defRPr sz="1600"/>
            </a:lvl4pPr>
            <a:lvl5pPr>
              <a:defRPr sz="1600"/>
            </a:lvl5pPr>
            <a:lvl6pPr>
              <a:defRPr sz="1943"/>
            </a:lvl6pPr>
            <a:lvl7pPr>
              <a:defRPr sz="1943"/>
            </a:lvl7pPr>
            <a:lvl8pPr>
              <a:defRPr sz="1943"/>
            </a:lvl8pPr>
            <a:lvl9pPr>
              <a:defRPr sz="194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12"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5" name="Date Placeholder 4"/>
          <p:cNvSpPr>
            <a:spLocks noGrp="1"/>
          </p:cNvSpPr>
          <p:nvPr>
            <p:ph type="dt" sz="half" idx="10"/>
          </p:nvPr>
        </p:nvSpPr>
        <p:spPr/>
        <p:txBody>
          <a:bodyPr/>
          <a:lstStyle/>
          <a:p>
            <a:fld id="{9940A4CB-4E9D-4025-90E3-600BBF52DDF1}" type="datetime3">
              <a:rPr lang="en-US" smtClean="0"/>
              <a:t>19 March 2018</a:t>
            </a:fld>
            <a:endParaRPr lang="en-US" dirty="0"/>
          </a:p>
        </p:txBody>
      </p:sp>
      <p:sp>
        <p:nvSpPr>
          <p:cNvPr id="6" name="Footer Placeholder 5"/>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534591" y="222227"/>
            <a:ext cx="9622632" cy="948432"/>
          </a:xfrm>
        </p:spPr>
        <p:txBody>
          <a:bodyPr/>
          <a:lstStyle/>
          <a:p>
            <a:r>
              <a:rPr lang="en-US" dirty="0"/>
              <a:t>Click to edit Master title style</a:t>
            </a:r>
            <a:endParaRPr lang="en-GB" dirty="0"/>
          </a:p>
        </p:txBody>
      </p:sp>
      <p:sp>
        <p:nvSpPr>
          <p:cNvPr id="3" name="Content Placeholder 2"/>
          <p:cNvSpPr>
            <a:spLocks noGrp="1"/>
          </p:cNvSpPr>
          <p:nvPr>
            <p:ph sz="half" idx="1"/>
          </p:nvPr>
        </p:nvSpPr>
        <p:spPr>
          <a:xfrm>
            <a:off x="526172" y="2338136"/>
            <a:ext cx="4727128" cy="4413075"/>
          </a:xfrm>
        </p:spPr>
        <p:txBody>
          <a:bodyPr/>
          <a:lstStyle>
            <a:lvl1pPr>
              <a:defRPr sz="2590"/>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5430094" y="2338136"/>
            <a:ext cx="4727128" cy="4413075"/>
          </a:xfrm>
        </p:spPr>
        <p:txBody>
          <a:bodyPr/>
          <a:lstStyle>
            <a:lvl1pPr>
              <a:defRPr sz="2590"/>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10" name="Text Placeholder 9"/>
          <p:cNvSpPr>
            <a:spLocks noGrp="1"/>
          </p:cNvSpPr>
          <p:nvPr>
            <p:ph type="body" sz="quarter" idx="12"/>
          </p:nvPr>
        </p:nvSpPr>
        <p:spPr>
          <a:xfrm>
            <a:off x="526172" y="1572413"/>
            <a:ext cx="4727128" cy="706363"/>
          </a:xfrm>
        </p:spPr>
        <p:txBody>
          <a:bodyPr anchor="t" anchorCtr="0"/>
          <a:lstStyle>
            <a:lvl1pPr>
              <a:buNone/>
              <a:defRPr b="1"/>
            </a:lvl1pPr>
          </a:lstStyle>
          <a:p>
            <a:pPr lvl="0"/>
            <a:endParaRPr lang="en-GB" dirty="0"/>
          </a:p>
        </p:txBody>
      </p:sp>
      <p:sp>
        <p:nvSpPr>
          <p:cNvPr id="11" name="Text Placeholder 9"/>
          <p:cNvSpPr>
            <a:spLocks noGrp="1"/>
          </p:cNvSpPr>
          <p:nvPr>
            <p:ph type="body" sz="quarter" idx="13"/>
          </p:nvPr>
        </p:nvSpPr>
        <p:spPr>
          <a:xfrm>
            <a:off x="5430094" y="1572413"/>
            <a:ext cx="4727128" cy="706363"/>
          </a:xfrm>
        </p:spPr>
        <p:txBody>
          <a:bodyPr anchor="t" anchorCtr="0"/>
          <a:lstStyle>
            <a:lvl1pPr>
              <a:buNone/>
              <a:defRPr b="1"/>
            </a:lvl1pPr>
          </a:lstStyle>
          <a:p>
            <a:pPr lvl="0"/>
            <a:endParaRPr lang="en-GB" dirty="0"/>
          </a:p>
        </p:txBody>
      </p:sp>
      <p:sp>
        <p:nvSpPr>
          <p:cNvPr id="9"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endParaRPr>
          </a:p>
        </p:txBody>
      </p:sp>
      <p:sp>
        <p:nvSpPr>
          <p:cNvPr id="7" name="Date Placeholder 6"/>
          <p:cNvSpPr>
            <a:spLocks noGrp="1"/>
          </p:cNvSpPr>
          <p:nvPr>
            <p:ph type="dt" sz="half" idx="14"/>
          </p:nvPr>
        </p:nvSpPr>
        <p:spPr/>
        <p:txBody>
          <a:bodyPr/>
          <a:lstStyle/>
          <a:p>
            <a:fld id="{55C6EB33-D786-4EDE-9BC4-7BCF5439C000}" type="datetime3">
              <a:rPr lang="en-US" smtClean="0"/>
              <a:t>19 March 2018</a:t>
            </a:fld>
            <a:endParaRPr lang="en-US" dirty="0"/>
          </a:p>
        </p:txBody>
      </p:sp>
      <p:sp>
        <p:nvSpPr>
          <p:cNvPr id="13" name="Footer Placeholder 12"/>
          <p:cNvSpPr>
            <a:spLocks noGrp="1"/>
          </p:cNvSpPr>
          <p:nvPr>
            <p:ph type="ftr" sz="quarter" idx="15"/>
          </p:nvPr>
        </p:nvSpPr>
        <p:spPr/>
        <p:txBody>
          <a:bodyPr/>
          <a:lstStyle/>
          <a:p>
            <a:r>
              <a:rPr lang="en-GB" dirty="0" err="1"/>
              <a:t>Unternehmenstransaktionen</a:t>
            </a:r>
            <a:r>
              <a:rPr lang="en-GB" dirty="0"/>
              <a:t> in der </a:t>
            </a:r>
            <a:r>
              <a:rPr lang="en-GB" dirty="0" err="1"/>
              <a:t>Schweiz</a:t>
            </a:r>
            <a:endParaRPr lang="en-GB"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32736" y="1130453"/>
            <a:ext cx="9622632" cy="1811173"/>
          </a:xfrm>
        </p:spPr>
        <p:txBody>
          <a:bodyPr/>
          <a:lstStyle>
            <a:lvl1pPr marL="0" indent="0" algn="l">
              <a:lnSpc>
                <a:spcPct val="85000"/>
              </a:lnSpc>
              <a:spcBef>
                <a:spcPts val="0"/>
              </a:spcBef>
              <a:buNone/>
              <a:defRPr sz="5000" b="1">
                <a:solidFill>
                  <a:schemeClr val="bg2"/>
                </a:solidFill>
                <a:latin typeface="+mn-lt"/>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Line 11"/>
          <p:cNvSpPr>
            <a:spLocks noChangeShapeType="1"/>
          </p:cNvSpPr>
          <p:nvPr userDrawn="1"/>
        </p:nvSpPr>
        <p:spPr bwMode="auto">
          <a:xfrm>
            <a:off x="534591" y="6881090"/>
            <a:ext cx="9622632"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endParaRPr>
          </a:p>
        </p:txBody>
      </p:sp>
      <p:sp>
        <p:nvSpPr>
          <p:cNvPr id="2" name="Date Placeholder 1"/>
          <p:cNvSpPr>
            <a:spLocks noGrp="1"/>
          </p:cNvSpPr>
          <p:nvPr>
            <p:ph type="dt" sz="half" idx="12"/>
          </p:nvPr>
        </p:nvSpPr>
        <p:spPr/>
        <p:txBody>
          <a:bodyPr/>
          <a:lstStyle/>
          <a:p>
            <a:fld id="{DF53BE6E-93B2-4D4E-8FC0-5911E2969EA0}" type="datetime3">
              <a:rPr lang="en-US" smtClean="0"/>
              <a:t>19 March 2018</a:t>
            </a:fld>
            <a:endParaRPr lang="en-US" dirty="0"/>
          </a:p>
        </p:txBody>
      </p:sp>
      <p:sp>
        <p:nvSpPr>
          <p:cNvPr id="4" name="Footer Placeholder 3"/>
          <p:cNvSpPr>
            <a:spLocks noGrp="1"/>
          </p:cNvSpPr>
          <p:nvPr>
            <p:ph type="ftr" sz="quarter" idx="13"/>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391301120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591" y="221750"/>
            <a:ext cx="9622632" cy="88700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34591" y="1149071"/>
            <a:ext cx="9622632" cy="5715254"/>
          </a:xfrm>
          <a:custGeom>
            <a:avLst/>
            <a:gdLst>
              <a:gd name="connsiteX0" fmla="*/ 0 w 10000"/>
              <a:gd name="connsiteY0" fmla="*/ 0 h 10000"/>
              <a:gd name="connsiteX1" fmla="*/ 0 w 10000"/>
              <a:gd name="connsiteY1" fmla="*/ 10000 h 10000"/>
              <a:gd name="connsiteX2" fmla="*/ 9997 w 10000"/>
              <a:gd name="connsiteY2" fmla="*/ 6977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9997" y="6977"/>
                </a:lnTo>
                <a:cubicBezTo>
                  <a:pt x="9998" y="4651"/>
                  <a:pt x="9999" y="2326"/>
                  <a:pt x="10000" y="0"/>
                </a:cubicBezTo>
                <a:lnTo>
                  <a:pt x="0" y="0"/>
                </a:lnTo>
                <a:close/>
              </a:path>
            </a:pathLst>
          </a:custGeom>
          <a:solidFill>
            <a:schemeClr val="accent2"/>
          </a:solidFill>
          <a:ln w="9525">
            <a:noFill/>
            <a:round/>
            <a:headEnd/>
            <a:tailEnd/>
          </a:ln>
        </p:spPr>
        <p:txBody>
          <a:bodyPr vert="horz" wrap="square" lIns="98694" tIns="49347" rIns="98694" bIns="49347" numCol="1" anchor="t" anchorCtr="0" compatLnSpc="1">
            <a:prstTxWarp prst="textNoShape">
              <a:avLst/>
            </a:prstTxWarp>
          </a:bodyPr>
          <a:lstStyle/>
          <a:p>
            <a:endParaRPr lang="en-GB" sz="2115"/>
          </a:p>
        </p:txBody>
      </p:sp>
      <p:sp>
        <p:nvSpPr>
          <p:cNvPr id="2" name="Date Placeholder 1"/>
          <p:cNvSpPr>
            <a:spLocks noGrp="1"/>
          </p:cNvSpPr>
          <p:nvPr>
            <p:ph type="dt" sz="half" idx="10"/>
          </p:nvPr>
        </p:nvSpPr>
        <p:spPr/>
        <p:txBody>
          <a:bodyPr/>
          <a:lstStyle/>
          <a:p>
            <a:fld id="{E0117B30-13DE-4E7F-8A3B-AA67CC31B646}" type="datetime3">
              <a:rPr lang="en-US" smtClean="0"/>
              <a:t>19 March 2018</a:t>
            </a:fld>
            <a:endParaRPr lang="en-US" dirty="0"/>
          </a:p>
        </p:txBody>
      </p:sp>
      <p:sp>
        <p:nvSpPr>
          <p:cNvPr id="3" name="Footer Placeholder 2"/>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19999408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591" y="221750"/>
            <a:ext cx="9622632" cy="88700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a:t>Click to edit Master title style</a:t>
            </a:r>
          </a:p>
        </p:txBody>
      </p:sp>
      <p:sp>
        <p:nvSpPr>
          <p:cNvPr id="6" name="Freeform 5"/>
          <p:cNvSpPr>
            <a:spLocks/>
          </p:cNvSpPr>
          <p:nvPr userDrawn="1"/>
        </p:nvSpPr>
        <p:spPr bwMode="gray">
          <a:xfrm>
            <a:off x="534591" y="1149071"/>
            <a:ext cx="9622632" cy="5715254"/>
          </a:xfrm>
          <a:custGeom>
            <a:avLst/>
            <a:gdLst>
              <a:gd name="connsiteX0" fmla="*/ 0 w 10000"/>
              <a:gd name="connsiteY0" fmla="*/ 0 h 10000"/>
              <a:gd name="connsiteX1" fmla="*/ 0 w 10000"/>
              <a:gd name="connsiteY1" fmla="*/ 10000 h 10000"/>
              <a:gd name="connsiteX2" fmla="*/ 10000 w 10000"/>
              <a:gd name="connsiteY2" fmla="*/ 6971 h 10000"/>
              <a:gd name="connsiteX3" fmla="*/ 10000 w 10000"/>
              <a:gd name="connsiteY3" fmla="*/ 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0" y="10000"/>
                </a:lnTo>
                <a:lnTo>
                  <a:pt x="10000" y="6971"/>
                </a:lnTo>
                <a:lnTo>
                  <a:pt x="10000" y="0"/>
                </a:lnTo>
                <a:lnTo>
                  <a:pt x="0" y="0"/>
                </a:lnTo>
                <a:close/>
              </a:path>
            </a:pathLst>
          </a:custGeom>
          <a:solidFill>
            <a:schemeClr val="accent1"/>
          </a:solidFill>
          <a:ln w="9525">
            <a:noFill/>
            <a:round/>
            <a:headEnd/>
            <a:tailEnd/>
          </a:ln>
        </p:spPr>
        <p:txBody>
          <a:bodyPr vert="horz" wrap="square" lIns="98694" tIns="49347" rIns="98694" bIns="49347" numCol="1" anchor="t" anchorCtr="0" compatLnSpc="1">
            <a:prstTxWarp prst="textNoShape">
              <a:avLst/>
            </a:prstTxWarp>
          </a:bodyPr>
          <a:lstStyle/>
          <a:p>
            <a:endParaRPr lang="en-GB" sz="2115"/>
          </a:p>
        </p:txBody>
      </p:sp>
      <p:sp>
        <p:nvSpPr>
          <p:cNvPr id="2" name="Date Placeholder 1"/>
          <p:cNvSpPr>
            <a:spLocks noGrp="1"/>
          </p:cNvSpPr>
          <p:nvPr>
            <p:ph type="dt" sz="half" idx="10"/>
          </p:nvPr>
        </p:nvSpPr>
        <p:spPr/>
        <p:txBody>
          <a:bodyPr/>
          <a:lstStyle/>
          <a:p>
            <a:fld id="{6780CA1B-AC96-4B9B-BC68-95845F1DC151}" type="datetime3">
              <a:rPr lang="en-US" smtClean="0"/>
              <a:t>19 March 2018</a:t>
            </a:fld>
            <a:endParaRPr lang="en-US" dirty="0"/>
          </a:p>
        </p:txBody>
      </p:sp>
      <p:sp>
        <p:nvSpPr>
          <p:cNvPr id="3" name="Footer Placeholder 2"/>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591" y="221750"/>
            <a:ext cx="9622632" cy="88700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dirty="0"/>
              <a:t>Click to edit Master title style</a:t>
            </a:r>
          </a:p>
        </p:txBody>
      </p:sp>
      <p:sp>
        <p:nvSpPr>
          <p:cNvPr id="5" name="Freeform 5"/>
          <p:cNvSpPr>
            <a:spLocks/>
          </p:cNvSpPr>
          <p:nvPr userDrawn="1"/>
        </p:nvSpPr>
        <p:spPr bwMode="gray">
          <a:xfrm>
            <a:off x="534591" y="1146849"/>
            <a:ext cx="9629368" cy="5715254"/>
          </a:xfrm>
          <a:custGeom>
            <a:avLst/>
            <a:gdLst>
              <a:gd name="connsiteX0" fmla="*/ 0 w 10007"/>
              <a:gd name="connsiteY0" fmla="*/ 0 h 10000"/>
              <a:gd name="connsiteX1" fmla="*/ 0 w 10007"/>
              <a:gd name="connsiteY1" fmla="*/ 10000 h 10000"/>
              <a:gd name="connsiteX2" fmla="*/ 10007 w 10007"/>
              <a:gd name="connsiteY2" fmla="*/ 6983 h 10000"/>
              <a:gd name="connsiteX3" fmla="*/ 10000 w 10007"/>
              <a:gd name="connsiteY3" fmla="*/ 0 h 10000"/>
              <a:gd name="connsiteX4" fmla="*/ 0 w 1000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7" h="10000">
                <a:moveTo>
                  <a:pt x="0" y="0"/>
                </a:moveTo>
                <a:lnTo>
                  <a:pt x="0" y="10000"/>
                </a:lnTo>
                <a:lnTo>
                  <a:pt x="10007" y="6983"/>
                </a:lnTo>
                <a:cubicBezTo>
                  <a:pt x="10005" y="4655"/>
                  <a:pt x="10002" y="2328"/>
                  <a:pt x="10000" y="0"/>
                </a:cubicBezTo>
                <a:lnTo>
                  <a:pt x="0" y="0"/>
                </a:lnTo>
                <a:close/>
              </a:path>
            </a:pathLst>
          </a:custGeom>
          <a:blipFill dpi="0" rotWithShape="1">
            <a:blip r:embed="rId2" cstate="print"/>
            <a:srcRect/>
            <a:stretch>
              <a:fillRect/>
            </a:stretch>
          </a:blipFill>
          <a:ln w="9525">
            <a:noFill/>
            <a:round/>
            <a:headEnd/>
            <a:tailEnd/>
          </a:ln>
        </p:spPr>
        <p:txBody>
          <a:bodyPr vert="horz" wrap="square" lIns="98694" tIns="49347" rIns="98694" bIns="49347" numCol="1" anchor="t" anchorCtr="0" compatLnSpc="1">
            <a:prstTxWarp prst="textNoShape">
              <a:avLst/>
            </a:prstTxWarp>
          </a:bodyPr>
          <a:lstStyle/>
          <a:p>
            <a:endParaRPr lang="en-GB" sz="2115"/>
          </a:p>
        </p:txBody>
      </p:sp>
      <p:sp>
        <p:nvSpPr>
          <p:cNvPr id="2" name="Date Placeholder 1"/>
          <p:cNvSpPr>
            <a:spLocks noGrp="1"/>
          </p:cNvSpPr>
          <p:nvPr>
            <p:ph type="dt" sz="half" idx="10"/>
          </p:nvPr>
        </p:nvSpPr>
        <p:spPr/>
        <p:txBody>
          <a:bodyPr/>
          <a:lstStyle/>
          <a:p>
            <a:fld id="{2555FC64-4E50-4362-84AA-468F678B4DE0}" type="datetime3">
              <a:rPr lang="en-US" smtClean="0"/>
              <a:t>19 March 2018</a:t>
            </a:fld>
            <a:endParaRPr lang="en-US" dirty="0"/>
          </a:p>
        </p:txBody>
      </p:sp>
      <p:sp>
        <p:nvSpPr>
          <p:cNvPr id="3" name="Footer Placeholder 2"/>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25286478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532735" y="6882455"/>
            <a:ext cx="9622632" cy="0"/>
          </a:xfrm>
          <a:prstGeom prst="line">
            <a:avLst/>
          </a:prstGeom>
          <a:noFill/>
          <a:ln w="3175">
            <a:solidFill>
              <a:srgbClr val="808080"/>
            </a:solidFill>
            <a:round/>
            <a:headEnd/>
            <a:tailEnd/>
          </a:ln>
          <a:effectLst/>
        </p:spPr>
        <p:txBody>
          <a:bodyPr wrap="none" anchor="ctr"/>
          <a:lstStyle/>
          <a:p>
            <a:endParaRPr lang="en-US" sz="2115" noProof="0" dirty="0">
              <a:solidFill>
                <a:schemeClr val="bg1"/>
              </a:solidFill>
            </a:endParaRPr>
          </a:p>
        </p:txBody>
      </p:sp>
      <p:sp>
        <p:nvSpPr>
          <p:cNvPr id="2" name="Date Placeholder 1"/>
          <p:cNvSpPr>
            <a:spLocks noGrp="1"/>
          </p:cNvSpPr>
          <p:nvPr>
            <p:ph type="dt" sz="half" idx="10"/>
          </p:nvPr>
        </p:nvSpPr>
        <p:spPr/>
        <p:txBody>
          <a:bodyPr/>
          <a:lstStyle/>
          <a:p>
            <a:fld id="{C58567F5-466F-4F04-AD9F-73F2DA86080F}" type="datetime3">
              <a:rPr lang="en-US" smtClean="0"/>
              <a:t>19 March 2018</a:t>
            </a:fld>
            <a:endParaRPr lang="en-US" dirty="0"/>
          </a:p>
        </p:txBody>
      </p:sp>
      <p:sp>
        <p:nvSpPr>
          <p:cNvPr id="3" name="Footer Placeholder 2"/>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33506808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532734" y="792717"/>
            <a:ext cx="4099931" cy="5743129"/>
          </a:xfrm>
        </p:spPr>
        <p:txBody>
          <a:bodyPr/>
          <a:lstStyle>
            <a:lvl1pPr marL="0" indent="0" algn="l" defTabSz="1074295" rtl="0" fontAlgn="base">
              <a:lnSpc>
                <a:spcPct val="100000"/>
              </a:lnSpc>
              <a:spcBef>
                <a:spcPct val="70000"/>
              </a:spcBef>
              <a:spcAft>
                <a:spcPct val="0"/>
              </a:spcAft>
              <a:buSzPct val="100000"/>
              <a:buNone/>
              <a:defRPr lang="en-US" sz="1295" kern="1200" noProof="0" dirty="0" smtClean="0">
                <a:solidFill>
                  <a:schemeClr val="bg1"/>
                </a:solidFill>
                <a:latin typeface="+mn-lt"/>
                <a:ea typeface="+mn-ea"/>
                <a:cs typeface="Arial" pitchFamily="34" charset="0"/>
              </a:defRPr>
            </a:lvl1pPr>
            <a:lvl2pPr marL="0" indent="0" algn="l" defTabSz="1074295" rtl="0" fontAlgn="base">
              <a:lnSpc>
                <a:spcPct val="100000"/>
              </a:lnSpc>
              <a:spcBef>
                <a:spcPct val="0"/>
              </a:spcBef>
              <a:spcAft>
                <a:spcPct val="0"/>
              </a:spcAft>
              <a:buSzPct val="100000"/>
              <a:buNone/>
              <a:defRPr lang="en-US" sz="971" b="1" kern="1200" noProof="0" dirty="0" smtClean="0">
                <a:solidFill>
                  <a:schemeClr val="bg1"/>
                </a:solidFill>
                <a:latin typeface="+mn-lt"/>
                <a:ea typeface="+mn-ea"/>
                <a:cs typeface="Arial" pitchFamily="34" charset="0"/>
              </a:defRPr>
            </a:lvl2pPr>
            <a:lvl3pPr marL="190187" indent="-190187" algn="l" defTabSz="1074295" rtl="0" fontAlgn="base">
              <a:lnSpc>
                <a:spcPct val="100000"/>
              </a:lnSpc>
              <a:spcBef>
                <a:spcPct val="0"/>
              </a:spcBef>
              <a:spcAft>
                <a:spcPct val="0"/>
              </a:spcAft>
              <a:buClr>
                <a:schemeClr val="accent2"/>
              </a:buClr>
              <a:buSzPct val="70000"/>
              <a:buFont typeface="Arial" pitchFamily="34" charset="0"/>
              <a:buChar char="►"/>
              <a:defRPr lang="en-US" sz="971" b="1" kern="1200" noProof="0" dirty="0" smtClean="0">
                <a:solidFill>
                  <a:schemeClr val="bg1"/>
                </a:solidFill>
                <a:latin typeface="+mn-lt"/>
                <a:ea typeface="+mn-ea"/>
                <a:cs typeface="Arial" pitchFamily="34" charset="0"/>
              </a:defRPr>
            </a:lvl3pPr>
            <a:lvl4pPr marL="0" indent="0" algn="l" defTabSz="1074295" rtl="0" fontAlgn="base">
              <a:lnSpc>
                <a:spcPct val="100000"/>
              </a:lnSpc>
              <a:spcBef>
                <a:spcPct val="0"/>
              </a:spcBef>
              <a:spcAft>
                <a:spcPct val="0"/>
              </a:spcAft>
              <a:buSzPct val="100000"/>
              <a:buNone/>
              <a:defRPr lang="en-US" sz="863" kern="1200" noProof="0" dirty="0" smtClean="0">
                <a:solidFill>
                  <a:schemeClr val="bg1"/>
                </a:solidFill>
                <a:latin typeface="+mn-lt"/>
                <a:ea typeface="+mn-ea"/>
                <a:cs typeface="Arial" pitchFamily="34" charset="0"/>
              </a:defRPr>
            </a:lvl4pPr>
            <a:lvl5pPr marL="203894" indent="-203894" algn="l" defTabSz="1074295" rtl="0" fontAlgn="base">
              <a:lnSpc>
                <a:spcPct val="100000"/>
              </a:lnSpc>
              <a:spcBef>
                <a:spcPct val="0"/>
              </a:spcBef>
              <a:spcAft>
                <a:spcPct val="0"/>
              </a:spcAft>
              <a:buClr>
                <a:schemeClr val="accent2"/>
              </a:buClr>
              <a:buSzPct val="70000"/>
              <a:buFont typeface="Arial" pitchFamily="34" charset="0"/>
              <a:buChar char="►"/>
              <a:defRPr lang="en-US" sz="863"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900077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6" name="Title 5"/>
          <p:cNvSpPr>
            <a:spLocks noGrp="1"/>
          </p:cNvSpPr>
          <p:nvPr>
            <p:ph type="title"/>
          </p:nvPr>
        </p:nvSpPr>
        <p:spPr>
          <a:xfrm>
            <a:off x="534590" y="222227"/>
            <a:ext cx="9626345" cy="948432"/>
          </a:xfrm>
          <a:prstGeom prst="rect">
            <a:avLst/>
          </a:prstGeom>
        </p:spPr>
        <p:txBody>
          <a:bodyPr/>
          <a:lstStyle/>
          <a:p>
            <a:r>
              <a:rPr lang="en-US"/>
              <a:t>Click to edit Master title style</a:t>
            </a:r>
            <a:endParaRPr lang="en-US" dirty="0"/>
          </a:p>
        </p:txBody>
      </p:sp>
      <p:sp>
        <p:nvSpPr>
          <p:cNvPr id="2" name="Date Placeholder 1"/>
          <p:cNvSpPr>
            <a:spLocks noGrp="1"/>
          </p:cNvSpPr>
          <p:nvPr>
            <p:ph type="dt" sz="half" idx="10"/>
          </p:nvPr>
        </p:nvSpPr>
        <p:spPr/>
        <p:txBody>
          <a:bodyPr/>
          <a:lstStyle/>
          <a:p>
            <a:fld id="{5554A84F-9C1C-4E67-9688-CCB9A3622EF1}" type="datetime3">
              <a:rPr lang="en-US" smtClean="0"/>
              <a:t>19 March 2018</a:t>
            </a:fld>
            <a:endParaRPr lang="en-US" dirty="0"/>
          </a:p>
        </p:txBody>
      </p:sp>
      <p:sp>
        <p:nvSpPr>
          <p:cNvPr id="3" name="Footer Placeholder 2"/>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6" name="Title 5"/>
          <p:cNvSpPr>
            <a:spLocks noGrp="1"/>
          </p:cNvSpPr>
          <p:nvPr>
            <p:ph type="title"/>
          </p:nvPr>
        </p:nvSpPr>
        <p:spPr>
          <a:xfrm>
            <a:off x="534590" y="222227"/>
            <a:ext cx="9626345" cy="948432"/>
          </a:xfrm>
          <a:prstGeom prst="rect">
            <a:avLst/>
          </a:prstGeom>
        </p:spPr>
        <p:txBody>
          <a:bodyPr/>
          <a:lstStyle/>
          <a:p>
            <a:r>
              <a:rPr lang="en-US"/>
              <a:t>Click to edit Master title style</a:t>
            </a:r>
            <a:endParaRPr lang="en-US" dirty="0"/>
          </a:p>
        </p:txBody>
      </p:sp>
      <p:sp>
        <p:nvSpPr>
          <p:cNvPr id="2" name="Date Placeholder 1"/>
          <p:cNvSpPr>
            <a:spLocks noGrp="1"/>
          </p:cNvSpPr>
          <p:nvPr>
            <p:ph type="dt" sz="half" idx="10"/>
          </p:nvPr>
        </p:nvSpPr>
        <p:spPr/>
        <p:txBody>
          <a:bodyPr/>
          <a:lstStyle/>
          <a:p>
            <a:fld id="{11FFCA6D-B2DD-4B8D-AF17-B6943813F073}" type="datetime3">
              <a:rPr lang="en-US" smtClean="0"/>
              <a:t>19 March 2018</a:t>
            </a:fld>
            <a:endParaRPr lang="en-US" dirty="0"/>
          </a:p>
        </p:txBody>
      </p:sp>
      <p:sp>
        <p:nvSpPr>
          <p:cNvPr id="3" name="Footer Placeholder 2"/>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extLst>
      <p:ext uri="{BB962C8B-B14F-4D97-AF65-F5344CB8AC3E}">
        <p14:creationId xmlns:p14="http://schemas.microsoft.com/office/powerpoint/2010/main" val="872817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534590" y="222227"/>
            <a:ext cx="9626345" cy="948432"/>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sz="half" idx="1"/>
          </p:nvPr>
        </p:nvSpPr>
        <p:spPr>
          <a:xfrm>
            <a:off x="534591" y="1572414"/>
            <a:ext cx="4722217" cy="5178797"/>
          </a:xfrm>
          <a:prstGeom prst="rect">
            <a:avLst/>
          </a:prstGeom>
        </p:spPr>
        <p:txBody>
          <a:bodyPr/>
          <a:lstStyle>
            <a:lvl1pPr>
              <a:defRPr sz="2400">
                <a:solidFill>
                  <a:schemeClr val="bg1"/>
                </a:solidFill>
                <a:latin typeface="+mn-lt"/>
                <a:cs typeface="Arial" pitchFamily="34" charset="0"/>
              </a:defRPr>
            </a:lvl1pPr>
            <a:lvl2pPr>
              <a:defRPr sz="2000">
                <a:solidFill>
                  <a:schemeClr val="bg1"/>
                </a:solidFill>
                <a:latin typeface="+mn-lt"/>
                <a:cs typeface="Arial" pitchFamily="34" charset="0"/>
              </a:defRPr>
            </a:lvl2pPr>
            <a:lvl3pPr>
              <a:defRPr sz="18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943"/>
            </a:lvl6pPr>
            <a:lvl7pPr>
              <a:defRPr sz="1943"/>
            </a:lvl7pPr>
            <a:lvl8pPr>
              <a:defRPr sz="1943"/>
            </a:lvl8pPr>
            <a:lvl9pPr>
              <a:defRPr sz="19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435005" y="1572414"/>
            <a:ext cx="4722217" cy="5178797"/>
          </a:xfrm>
          <a:prstGeom prst="rect">
            <a:avLst/>
          </a:prstGeom>
        </p:spPr>
        <p:txBody>
          <a:bodyPr/>
          <a:lstStyle>
            <a:lvl1pPr>
              <a:defRPr sz="2400">
                <a:solidFill>
                  <a:schemeClr val="bg1"/>
                </a:solidFill>
                <a:latin typeface="+mn-lt"/>
                <a:cs typeface="Arial" pitchFamily="34" charset="0"/>
              </a:defRPr>
            </a:lvl1pPr>
            <a:lvl2pPr>
              <a:defRPr sz="2000">
                <a:solidFill>
                  <a:schemeClr val="bg1"/>
                </a:solidFill>
                <a:latin typeface="+mn-lt"/>
                <a:cs typeface="Arial" pitchFamily="34" charset="0"/>
              </a:defRPr>
            </a:lvl2pPr>
            <a:lvl3pPr>
              <a:defRPr sz="18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943"/>
            </a:lvl6pPr>
            <a:lvl7pPr>
              <a:defRPr sz="1943"/>
            </a:lvl7pPr>
            <a:lvl8pPr>
              <a:defRPr sz="1943"/>
            </a:lvl8pPr>
            <a:lvl9pPr>
              <a:defRPr sz="194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534591" y="1150817"/>
            <a:ext cx="9622632"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534591" y="6881090"/>
            <a:ext cx="9622632"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943" noProof="0" dirty="0">
              <a:solidFill>
                <a:schemeClr val="bg1"/>
              </a:solidFill>
              <a:latin typeface="+mn-lt"/>
              <a:cs typeface="Arial" pitchFamily="34" charset="0"/>
            </a:endParaRPr>
          </a:p>
        </p:txBody>
      </p:sp>
      <p:sp>
        <p:nvSpPr>
          <p:cNvPr id="7" name="Date Placeholder 6"/>
          <p:cNvSpPr>
            <a:spLocks noGrp="1"/>
          </p:cNvSpPr>
          <p:nvPr>
            <p:ph type="dt" sz="half" idx="10"/>
          </p:nvPr>
        </p:nvSpPr>
        <p:spPr/>
        <p:txBody>
          <a:bodyPr/>
          <a:lstStyle/>
          <a:p>
            <a:fld id="{2621DC14-7205-40A6-9C0D-7A4A280570D8}" type="datetime3">
              <a:rPr lang="en-US" smtClean="0"/>
              <a:t>19 March 2018</a:t>
            </a:fld>
            <a:endParaRPr lang="en-US" dirty="0"/>
          </a:p>
        </p:txBody>
      </p:sp>
      <p:sp>
        <p:nvSpPr>
          <p:cNvPr id="9" name="Footer Placeholder 8"/>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Tree>
  </p:cSld>
  <p:clrMapOvr>
    <a:masterClrMapping/>
  </p:clrMapOvr>
  <p:extLst mod="1">
    <p:ext uri="{DCECCB84-F9BA-43D5-87BE-67443E8EF086}">
      <p15:sldGuideLst xmlns:p15="http://schemas.microsoft.com/office/powerpoint/2012/main">
        <p15:guide id="1" pos="3322" userDrawn="1">
          <p15:clr>
            <a:srgbClr val="FBAE40"/>
          </p15:clr>
        </p15:guide>
        <p15:guide id="2" pos="341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w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8.w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13.wmf"/><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image" Target="../media/image15.wmf"/><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theme" Target="../theme/theme4.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1062743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22" imgW="216" imgH="216" progId="TCLayout.ActiveDocument.1">
                  <p:embed/>
                </p:oleObj>
              </mc:Choice>
              <mc:Fallback>
                <p:oleObj name="think-cell Slide" r:id="rId22" imgW="216" imgH="216"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534590" y="222227"/>
            <a:ext cx="9626345" cy="939604"/>
          </a:xfrm>
          <a:prstGeom prst="rect">
            <a:avLst/>
          </a:prstGeom>
        </p:spPr>
        <p:txBody>
          <a:bodyPr vert="horz" lIns="0" tIns="0" rIns="0" bIns="0" rtlCol="0" anchor="t" anchorCtr="0">
            <a:noAutofit/>
          </a:bodyPr>
          <a:lstStyle/>
          <a:p>
            <a:r>
              <a:rPr lang="de-DE" dirty="0"/>
              <a:t>Titelmasterformat durch Klicken bearbeiten</a:t>
            </a:r>
            <a:endParaRPr lang="en-GB" dirty="0"/>
          </a:p>
        </p:txBody>
      </p:sp>
      <p:sp>
        <p:nvSpPr>
          <p:cNvPr id="13" name="Text Placeholder 2"/>
          <p:cNvSpPr>
            <a:spLocks noGrp="1"/>
          </p:cNvSpPr>
          <p:nvPr>
            <p:ph type="body" idx="1"/>
          </p:nvPr>
        </p:nvSpPr>
        <p:spPr>
          <a:xfrm>
            <a:off x="534591" y="1571460"/>
            <a:ext cx="9622632" cy="5179751"/>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4" name="Footer Placeholder 4"/>
          <p:cNvSpPr>
            <a:spLocks noGrp="1"/>
          </p:cNvSpPr>
          <p:nvPr>
            <p:ph type="ftr" sz="quarter" idx="3"/>
          </p:nvPr>
        </p:nvSpPr>
        <p:spPr>
          <a:xfrm>
            <a:off x="3026541" y="7160840"/>
            <a:ext cx="4015744" cy="221750"/>
          </a:xfrm>
          <a:prstGeom prst="rect">
            <a:avLst/>
          </a:prstGeom>
        </p:spPr>
        <p:txBody>
          <a:bodyPr vert="horz" lIns="0" tIns="0" rIns="0" bIns="0" rtlCol="0" anchor="t" anchorCtr="0">
            <a:noAutofit/>
          </a:bodyPr>
          <a:lstStyle>
            <a:lvl1pPr algn="l">
              <a:defRPr sz="1100">
                <a:solidFill>
                  <a:schemeClr val="bg1"/>
                </a:solidFill>
                <a:latin typeface="+mn-lt"/>
                <a:cs typeface="Arial" pitchFamily="34" charset="0"/>
              </a:defRPr>
            </a:lvl1pPr>
          </a:lstStyle>
          <a:p>
            <a:r>
              <a:rPr lang="en-GB" dirty="0" err="1"/>
              <a:t>Unternehmenstransaktionen</a:t>
            </a:r>
            <a:r>
              <a:rPr lang="en-GB" dirty="0"/>
              <a:t> in der </a:t>
            </a:r>
            <a:r>
              <a:rPr lang="en-GB" dirty="0" err="1"/>
              <a:t>Schweiz</a:t>
            </a:r>
            <a:endParaRPr lang="en-GB" dirty="0"/>
          </a:p>
        </p:txBody>
      </p:sp>
      <p:sp>
        <p:nvSpPr>
          <p:cNvPr id="15" name="TextBox 14"/>
          <p:cNvSpPr txBox="1"/>
          <p:nvPr/>
        </p:nvSpPr>
        <p:spPr>
          <a:xfrm>
            <a:off x="534591" y="7160840"/>
            <a:ext cx="844653" cy="221750"/>
          </a:xfrm>
          <a:prstGeom prst="rect">
            <a:avLst/>
          </a:prstGeom>
          <a:noFill/>
        </p:spPr>
        <p:txBody>
          <a:bodyPr vert="horz" wrap="square" lIns="0" tIns="0" rIns="0" bIns="0" rtlCol="0" anchor="t" anchorCtr="0">
            <a:noAutofit/>
          </a:bodyPr>
          <a:lstStyle/>
          <a:p>
            <a:r>
              <a:rPr lang="en-GB" sz="1100" dirty="0">
                <a:solidFill>
                  <a:schemeClr val="bg1"/>
                </a:solidFill>
                <a:latin typeface="+mn-lt"/>
                <a:cs typeface="Arial" pitchFamily="34" charset="0"/>
              </a:rPr>
              <a:t>Page </a:t>
            </a:r>
            <a:fld id="{9AE4D82F-B047-469B-AC52-A46321747EAF}" type="slidenum">
              <a:rPr lang="en-GB" sz="1100" smtClean="0">
                <a:solidFill>
                  <a:schemeClr val="bg1"/>
                </a:solidFill>
                <a:latin typeface="+mn-lt"/>
                <a:cs typeface="Arial" pitchFamily="34" charset="0"/>
              </a:rPr>
              <a:pPr/>
              <a:t>‹Nr.›</a:t>
            </a:fld>
            <a:endParaRPr lang="en-GB" sz="1100" dirty="0">
              <a:solidFill>
                <a:schemeClr val="bg1"/>
              </a:solidFill>
              <a:latin typeface="+mn-lt"/>
              <a:cs typeface="Arial" pitchFamily="34" charset="0"/>
            </a:endParaRPr>
          </a:p>
        </p:txBody>
      </p:sp>
      <p:sp>
        <p:nvSpPr>
          <p:cNvPr id="16" name="Date Placeholder 3"/>
          <p:cNvSpPr>
            <a:spLocks noGrp="1"/>
          </p:cNvSpPr>
          <p:nvPr>
            <p:ph type="dt" sz="half" idx="2"/>
          </p:nvPr>
        </p:nvSpPr>
        <p:spPr>
          <a:xfrm>
            <a:off x="1423929" y="7160840"/>
            <a:ext cx="1389936" cy="221750"/>
          </a:xfrm>
          <a:prstGeom prst="rect">
            <a:avLst/>
          </a:prstGeom>
        </p:spPr>
        <p:txBody>
          <a:bodyPr vert="horz" wrap="none" lIns="0" tIns="0" rIns="0" bIns="0" rtlCol="0" anchor="t" anchorCtr="0">
            <a:noAutofit/>
          </a:bodyPr>
          <a:lstStyle>
            <a:lvl1pPr algn="l">
              <a:defRPr sz="1100">
                <a:solidFill>
                  <a:schemeClr val="bg1"/>
                </a:solidFill>
                <a:latin typeface="+mn-lt"/>
                <a:cs typeface="Arial" pitchFamily="34" charset="0"/>
              </a:defRPr>
            </a:lvl1pPr>
          </a:lstStyle>
          <a:p>
            <a:fld id="{5425AB35-9194-4473-812D-1FADEFC73A14}" type="datetime3">
              <a:rPr lang="en-US" smtClean="0"/>
              <a:pPr/>
              <a:t>19 March 2018</a:t>
            </a:fld>
            <a:endParaRPr lang="en-US" dirty="0"/>
          </a:p>
        </p:txBody>
      </p:sp>
      <p:pic>
        <p:nvPicPr>
          <p:cNvPr id="9" name="Picture 1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9722754" y="6975060"/>
            <a:ext cx="431643" cy="450668"/>
          </a:xfrm>
          <a:prstGeom prst="rect">
            <a:avLst/>
          </a:prstGeom>
        </p:spPr>
      </p:pic>
    </p:spTree>
  </p:cSld>
  <p:clrMap bg1="lt1" tx1="dk1" bg2="lt2" tx2="dk2" accent1="accent1" accent2="accent2" accent3="accent3" accent4="accent4" accent5="accent5" accent6="accent6" hlink="hlink" folHlink="folHlink"/>
  <p:sldLayoutIdLst>
    <p:sldLayoutId id="2147483667" r:id="rId1"/>
    <p:sldLayoutId id="2147483758" r:id="rId2"/>
    <p:sldLayoutId id="2147483760" r:id="rId3"/>
    <p:sldLayoutId id="2147483668" r:id="rId4"/>
    <p:sldLayoutId id="2147483748" r:id="rId5"/>
    <p:sldLayoutId id="2147483749" r:id="rId6"/>
    <p:sldLayoutId id="2147483669" r:id="rId7"/>
    <p:sldLayoutId id="2147483780" r:id="rId8"/>
    <p:sldLayoutId id="2147483670" r:id="rId9"/>
    <p:sldLayoutId id="2147483671" r:id="rId10"/>
    <p:sldLayoutId id="2147483672" r:id="rId11"/>
    <p:sldLayoutId id="2147483673" r:id="rId12"/>
    <p:sldLayoutId id="2147483674" r:id="rId13"/>
    <p:sldLayoutId id="2147483726" r:id="rId14"/>
    <p:sldLayoutId id="2147483677" r:id="rId15"/>
    <p:sldLayoutId id="2147483678" r:id="rId16"/>
    <p:sldLayoutId id="2147483679" r:id="rId17"/>
    <p:sldLayoutId id="2147483784" r:id="rId18"/>
  </p:sldLayoutIdLst>
  <p:hf sldNum="0" hdr="0"/>
  <p:txStyles>
    <p:titleStyle>
      <a:lvl1pPr algn="l" defTabSz="986912"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84896" indent="-384896" algn="l" defTabSz="986912"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69791" indent="-384896" algn="l" defTabSz="986912"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154687" indent="-384896" algn="l" defTabSz="986912"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539583" indent="-384896" algn="l" defTabSz="986912"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924478" indent="-384896" algn="l" defTabSz="986912"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714008"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6pPr>
      <a:lvl7pPr marL="3207464"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7pPr>
      <a:lvl8pPr marL="3700920"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8pPr>
      <a:lvl9pPr marL="4194376"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9pPr>
    </p:bodyStyle>
    <p:otherStyle>
      <a:defPPr>
        <a:defRPr lang="en-US"/>
      </a:defPPr>
      <a:lvl1pPr marL="0" algn="l" defTabSz="986912" rtl="0" eaLnBrk="1" latinLnBrk="0" hangingPunct="1">
        <a:defRPr sz="1943" kern="1200">
          <a:solidFill>
            <a:schemeClr val="tx1"/>
          </a:solidFill>
          <a:latin typeface="+mn-lt"/>
          <a:ea typeface="+mn-ea"/>
          <a:cs typeface="+mn-cs"/>
        </a:defRPr>
      </a:lvl1pPr>
      <a:lvl2pPr marL="493456" algn="l" defTabSz="986912" rtl="0" eaLnBrk="1" latinLnBrk="0" hangingPunct="1">
        <a:defRPr sz="1943" kern="1200">
          <a:solidFill>
            <a:schemeClr val="tx1"/>
          </a:solidFill>
          <a:latin typeface="+mn-lt"/>
          <a:ea typeface="+mn-ea"/>
          <a:cs typeface="+mn-cs"/>
        </a:defRPr>
      </a:lvl2pPr>
      <a:lvl3pPr marL="986912" algn="l" defTabSz="986912" rtl="0" eaLnBrk="1" latinLnBrk="0" hangingPunct="1">
        <a:defRPr sz="1943" kern="1200">
          <a:solidFill>
            <a:schemeClr val="tx1"/>
          </a:solidFill>
          <a:latin typeface="+mn-lt"/>
          <a:ea typeface="+mn-ea"/>
          <a:cs typeface="+mn-cs"/>
        </a:defRPr>
      </a:lvl3pPr>
      <a:lvl4pPr marL="1480368" algn="l" defTabSz="986912" rtl="0" eaLnBrk="1" latinLnBrk="0" hangingPunct="1">
        <a:defRPr sz="1943" kern="1200">
          <a:solidFill>
            <a:schemeClr val="tx1"/>
          </a:solidFill>
          <a:latin typeface="+mn-lt"/>
          <a:ea typeface="+mn-ea"/>
          <a:cs typeface="+mn-cs"/>
        </a:defRPr>
      </a:lvl4pPr>
      <a:lvl5pPr marL="1973824" algn="l" defTabSz="986912" rtl="0" eaLnBrk="1" latinLnBrk="0" hangingPunct="1">
        <a:defRPr sz="1943" kern="1200">
          <a:solidFill>
            <a:schemeClr val="tx1"/>
          </a:solidFill>
          <a:latin typeface="+mn-lt"/>
          <a:ea typeface="+mn-ea"/>
          <a:cs typeface="+mn-cs"/>
        </a:defRPr>
      </a:lvl5pPr>
      <a:lvl6pPr marL="2467280" algn="l" defTabSz="986912" rtl="0" eaLnBrk="1" latinLnBrk="0" hangingPunct="1">
        <a:defRPr sz="1943" kern="1200">
          <a:solidFill>
            <a:schemeClr val="tx1"/>
          </a:solidFill>
          <a:latin typeface="+mn-lt"/>
          <a:ea typeface="+mn-ea"/>
          <a:cs typeface="+mn-cs"/>
        </a:defRPr>
      </a:lvl6pPr>
      <a:lvl7pPr marL="2960736" algn="l" defTabSz="986912" rtl="0" eaLnBrk="1" latinLnBrk="0" hangingPunct="1">
        <a:defRPr sz="1943" kern="1200">
          <a:solidFill>
            <a:schemeClr val="tx1"/>
          </a:solidFill>
          <a:latin typeface="+mn-lt"/>
          <a:ea typeface="+mn-ea"/>
          <a:cs typeface="+mn-cs"/>
        </a:defRPr>
      </a:lvl7pPr>
      <a:lvl8pPr marL="3454192" algn="l" defTabSz="986912" rtl="0" eaLnBrk="1" latinLnBrk="0" hangingPunct="1">
        <a:defRPr sz="1943" kern="1200">
          <a:solidFill>
            <a:schemeClr val="tx1"/>
          </a:solidFill>
          <a:latin typeface="+mn-lt"/>
          <a:ea typeface="+mn-ea"/>
          <a:cs typeface="+mn-cs"/>
        </a:defRPr>
      </a:lvl8pPr>
      <a:lvl9pPr marL="3947648" algn="l" defTabSz="986912" rtl="0" eaLnBrk="1" latinLnBrk="0" hangingPunct="1">
        <a:defRPr sz="194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28" userDrawn="1">
          <p15:clr>
            <a:srgbClr val="F26B43"/>
          </p15:clr>
        </p15:guide>
        <p15:guide id="2" orient="horz" pos="975" userDrawn="1">
          <p15:clr>
            <a:srgbClr val="F26B43"/>
          </p15:clr>
        </p15:guide>
        <p15:guide id="3" orient="horz" pos="4260" userDrawn="1">
          <p15:clr>
            <a:srgbClr val="F26B43"/>
          </p15:clr>
        </p15:guide>
        <p15:guide id="4" orient="horz" pos="135" userDrawn="1">
          <p15:clr>
            <a:srgbClr val="F26B43"/>
          </p15:clr>
        </p15:guide>
        <p15:guide id="5" orient="horz" pos="721" userDrawn="1">
          <p15:clr>
            <a:srgbClr val="F26B43"/>
          </p15:clr>
        </p15:guide>
        <p15:guide id="6" pos="640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534591" y="222227"/>
            <a:ext cx="9622632" cy="94843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15" name="Text Placeholder 2"/>
          <p:cNvSpPr>
            <a:spLocks noGrp="1"/>
          </p:cNvSpPr>
          <p:nvPr>
            <p:ph type="body" idx="1"/>
          </p:nvPr>
        </p:nvSpPr>
        <p:spPr>
          <a:xfrm>
            <a:off x="534591" y="1571462"/>
            <a:ext cx="9622632" cy="517975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Footer Placeholder 4"/>
          <p:cNvSpPr>
            <a:spLocks noGrp="1"/>
          </p:cNvSpPr>
          <p:nvPr>
            <p:ph type="ftr" sz="quarter" idx="3"/>
          </p:nvPr>
        </p:nvSpPr>
        <p:spPr>
          <a:xfrm>
            <a:off x="3026541" y="7156493"/>
            <a:ext cx="4015744" cy="221750"/>
          </a:xfrm>
          <a:prstGeom prst="rect">
            <a:avLst/>
          </a:prstGeom>
        </p:spPr>
        <p:txBody>
          <a:bodyPr vert="horz" wrap="square" lIns="0" tIns="0" rIns="0" bIns="0" rtlCol="0" anchor="t" anchorCtr="0">
            <a:noAutofit/>
          </a:bodyPr>
          <a:lstStyle>
            <a:lvl1pPr algn="l">
              <a:defRPr sz="1100">
                <a:solidFill>
                  <a:schemeClr val="bg1"/>
                </a:solidFill>
                <a:latin typeface="+mn-lt"/>
              </a:defRPr>
            </a:lvl1pPr>
          </a:lstStyle>
          <a:p>
            <a:r>
              <a:rPr lang="en-GB" dirty="0" err="1"/>
              <a:t>Unternehmenstransaktionen</a:t>
            </a:r>
            <a:r>
              <a:rPr lang="en-GB" dirty="0"/>
              <a:t> in der </a:t>
            </a:r>
            <a:r>
              <a:rPr lang="en-GB" dirty="0" err="1"/>
              <a:t>Schweiz</a:t>
            </a:r>
            <a:endParaRPr lang="en-GB" dirty="0"/>
          </a:p>
        </p:txBody>
      </p:sp>
      <p:sp>
        <p:nvSpPr>
          <p:cNvPr id="18" name="TextBox 17"/>
          <p:cNvSpPr txBox="1"/>
          <p:nvPr/>
        </p:nvSpPr>
        <p:spPr>
          <a:xfrm>
            <a:off x="534591" y="7156493"/>
            <a:ext cx="841875" cy="221750"/>
          </a:xfrm>
          <a:prstGeom prst="rect">
            <a:avLst/>
          </a:prstGeom>
          <a:noFill/>
        </p:spPr>
        <p:txBody>
          <a:bodyPr vert="horz"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Nr.›</a:t>
            </a:fld>
            <a:endParaRPr lang="en-GB" sz="1100" dirty="0">
              <a:solidFill>
                <a:schemeClr val="bg1"/>
              </a:solidFill>
              <a:latin typeface="+mn-lt"/>
            </a:endParaRPr>
          </a:p>
        </p:txBody>
      </p:sp>
      <p:sp>
        <p:nvSpPr>
          <p:cNvPr id="19" name="Date Placeholder 2"/>
          <p:cNvSpPr>
            <a:spLocks noGrp="1"/>
          </p:cNvSpPr>
          <p:nvPr>
            <p:ph type="dt" sz="half" idx="2"/>
          </p:nvPr>
        </p:nvSpPr>
        <p:spPr>
          <a:xfrm>
            <a:off x="1423929" y="7156493"/>
            <a:ext cx="1389936" cy="221750"/>
          </a:xfrm>
          <a:prstGeom prst="rect">
            <a:avLst/>
          </a:prstGeom>
        </p:spPr>
        <p:txBody>
          <a:bodyPr vert="horz" wrap="square" lIns="0" tIns="0" rIns="0" bIns="0" anchor="t" anchorCtr="0"/>
          <a:lstStyle>
            <a:lvl1pPr>
              <a:defRPr sz="1100">
                <a:solidFill>
                  <a:schemeClr val="bg1"/>
                </a:solidFill>
                <a:latin typeface="+mn-lt"/>
                <a:cs typeface="Arial" pitchFamily="34" charset="0"/>
              </a:defRPr>
            </a:lvl1pPr>
          </a:lstStyle>
          <a:p>
            <a:fld id="{7A16E0DA-459F-46EE-8A7F-A8A56E067BC6}" type="datetime3">
              <a:rPr lang="en-US" smtClean="0"/>
              <a:pPr/>
              <a:t>19 March 2018</a:t>
            </a:fld>
            <a:endParaRPr lang="en-US" dirty="0"/>
          </a:p>
        </p:txBody>
      </p:sp>
      <p:pic>
        <p:nvPicPr>
          <p:cNvPr id="8" name="Picture 19"/>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9722986" y="6975060"/>
            <a:ext cx="434433" cy="453581"/>
          </a:xfrm>
          <a:prstGeom prst="rect">
            <a:avLst/>
          </a:prstGeom>
        </p:spPr>
      </p:pic>
    </p:spTree>
    <p:extLst>
      <p:ext uri="{BB962C8B-B14F-4D97-AF65-F5344CB8AC3E}">
        <p14:creationId xmlns:p14="http://schemas.microsoft.com/office/powerpoint/2010/main" val="2074791551"/>
      </p:ext>
    </p:extLst>
  </p:cSld>
  <p:clrMap bg1="lt1" tx1="dk1" bg2="lt2" tx2="dk2" accent1="accent1" accent2="accent2" accent3="accent3" accent4="accent4" accent5="accent5" accent6="accent6" hlink="hlink" folHlink="folHlink"/>
  <p:sldLayoutIdLst>
    <p:sldLayoutId id="2147483709" r:id="rId1"/>
    <p:sldLayoutId id="2147483777" r:id="rId2"/>
    <p:sldLayoutId id="2147483763" r:id="rId3"/>
    <p:sldLayoutId id="2147483765" r:id="rId4"/>
    <p:sldLayoutId id="2147483710" r:id="rId5"/>
    <p:sldLayoutId id="2147483750" r:id="rId6"/>
    <p:sldLayoutId id="2147483751" r:id="rId7"/>
    <p:sldLayoutId id="2147483711" r:id="rId8"/>
    <p:sldLayoutId id="2147483783" r:id="rId9"/>
    <p:sldLayoutId id="2147483712" r:id="rId10"/>
    <p:sldLayoutId id="2147483713" r:id="rId11"/>
    <p:sldLayoutId id="2147483714" r:id="rId12"/>
    <p:sldLayoutId id="2147483715" r:id="rId13"/>
    <p:sldLayoutId id="2147483716" r:id="rId14"/>
    <p:sldLayoutId id="2147483727" r:id="rId15"/>
    <p:sldLayoutId id="2147483719" r:id="rId16"/>
    <p:sldLayoutId id="2147483720" r:id="rId17"/>
    <p:sldLayoutId id="2147483721" r:id="rId18"/>
  </p:sldLayoutIdLst>
  <p:hf sldNum="0" hdr="0"/>
  <p:txStyles>
    <p:titleStyle>
      <a:lvl1pPr algn="l" defTabSz="986912"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84896" indent="-384896" algn="l" defTabSz="986912"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69791" indent="-384896" algn="l" defTabSz="986912"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154687" indent="-384896" algn="l" defTabSz="986912"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539583" indent="-384896" algn="l" defTabSz="986912"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924478" indent="-384896" algn="l" defTabSz="986912"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714008"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6pPr>
      <a:lvl7pPr marL="3207464"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7pPr>
      <a:lvl8pPr marL="3700920"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8pPr>
      <a:lvl9pPr marL="4194376"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9pPr>
    </p:bodyStyle>
    <p:otherStyle>
      <a:defPPr>
        <a:defRPr lang="en-US"/>
      </a:defPPr>
      <a:lvl1pPr marL="0" algn="l" defTabSz="986912" rtl="0" eaLnBrk="1" latinLnBrk="0" hangingPunct="1">
        <a:defRPr sz="1943" kern="1200">
          <a:solidFill>
            <a:schemeClr val="tx1"/>
          </a:solidFill>
          <a:latin typeface="+mn-lt"/>
          <a:ea typeface="+mn-ea"/>
          <a:cs typeface="+mn-cs"/>
        </a:defRPr>
      </a:lvl1pPr>
      <a:lvl2pPr marL="493456" algn="l" defTabSz="986912" rtl="0" eaLnBrk="1" latinLnBrk="0" hangingPunct="1">
        <a:defRPr sz="1943" kern="1200">
          <a:solidFill>
            <a:schemeClr val="tx1"/>
          </a:solidFill>
          <a:latin typeface="+mn-lt"/>
          <a:ea typeface="+mn-ea"/>
          <a:cs typeface="+mn-cs"/>
        </a:defRPr>
      </a:lvl2pPr>
      <a:lvl3pPr marL="986912" algn="l" defTabSz="986912" rtl="0" eaLnBrk="1" latinLnBrk="0" hangingPunct="1">
        <a:defRPr sz="1943" kern="1200">
          <a:solidFill>
            <a:schemeClr val="tx1"/>
          </a:solidFill>
          <a:latin typeface="+mn-lt"/>
          <a:ea typeface="+mn-ea"/>
          <a:cs typeface="+mn-cs"/>
        </a:defRPr>
      </a:lvl3pPr>
      <a:lvl4pPr marL="1480368" algn="l" defTabSz="986912" rtl="0" eaLnBrk="1" latinLnBrk="0" hangingPunct="1">
        <a:defRPr sz="1943" kern="1200">
          <a:solidFill>
            <a:schemeClr val="tx1"/>
          </a:solidFill>
          <a:latin typeface="+mn-lt"/>
          <a:ea typeface="+mn-ea"/>
          <a:cs typeface="+mn-cs"/>
        </a:defRPr>
      </a:lvl4pPr>
      <a:lvl5pPr marL="1973824" algn="l" defTabSz="986912" rtl="0" eaLnBrk="1" latinLnBrk="0" hangingPunct="1">
        <a:defRPr sz="1943" kern="1200">
          <a:solidFill>
            <a:schemeClr val="tx1"/>
          </a:solidFill>
          <a:latin typeface="+mn-lt"/>
          <a:ea typeface="+mn-ea"/>
          <a:cs typeface="+mn-cs"/>
        </a:defRPr>
      </a:lvl5pPr>
      <a:lvl6pPr marL="2467280" algn="l" defTabSz="986912" rtl="0" eaLnBrk="1" latinLnBrk="0" hangingPunct="1">
        <a:defRPr sz="1943" kern="1200">
          <a:solidFill>
            <a:schemeClr val="tx1"/>
          </a:solidFill>
          <a:latin typeface="+mn-lt"/>
          <a:ea typeface="+mn-ea"/>
          <a:cs typeface="+mn-cs"/>
        </a:defRPr>
      </a:lvl6pPr>
      <a:lvl7pPr marL="2960736" algn="l" defTabSz="986912" rtl="0" eaLnBrk="1" latinLnBrk="0" hangingPunct="1">
        <a:defRPr sz="1943" kern="1200">
          <a:solidFill>
            <a:schemeClr val="tx1"/>
          </a:solidFill>
          <a:latin typeface="+mn-lt"/>
          <a:ea typeface="+mn-ea"/>
          <a:cs typeface="+mn-cs"/>
        </a:defRPr>
      </a:lvl7pPr>
      <a:lvl8pPr marL="3454192" algn="l" defTabSz="986912" rtl="0" eaLnBrk="1" latinLnBrk="0" hangingPunct="1">
        <a:defRPr sz="1943" kern="1200">
          <a:solidFill>
            <a:schemeClr val="tx1"/>
          </a:solidFill>
          <a:latin typeface="+mn-lt"/>
          <a:ea typeface="+mn-ea"/>
          <a:cs typeface="+mn-cs"/>
        </a:defRPr>
      </a:lvl8pPr>
      <a:lvl9pPr marL="3947648" algn="l" defTabSz="986912" rtl="0" eaLnBrk="1" latinLnBrk="0" hangingPunct="1">
        <a:defRPr sz="1943"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4591" y="222227"/>
            <a:ext cx="9622632" cy="94843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534591" y="1571462"/>
            <a:ext cx="9622632" cy="517975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Box 16"/>
          <p:cNvSpPr txBox="1"/>
          <p:nvPr/>
        </p:nvSpPr>
        <p:spPr>
          <a:xfrm>
            <a:off x="534591" y="7166991"/>
            <a:ext cx="841875" cy="221750"/>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Nr.›</a:t>
            </a:fld>
            <a:endParaRPr lang="en-GB" sz="1100" dirty="0">
              <a:solidFill>
                <a:schemeClr val="bg1"/>
              </a:solidFill>
              <a:latin typeface="+mn-lt"/>
            </a:endParaRPr>
          </a:p>
        </p:txBody>
      </p:sp>
      <p:sp>
        <p:nvSpPr>
          <p:cNvPr id="19" name="Footer Placeholder 4"/>
          <p:cNvSpPr>
            <a:spLocks noGrp="1"/>
          </p:cNvSpPr>
          <p:nvPr>
            <p:ph type="ftr" sz="quarter" idx="3"/>
          </p:nvPr>
        </p:nvSpPr>
        <p:spPr>
          <a:xfrm>
            <a:off x="3026541" y="7166991"/>
            <a:ext cx="4015744" cy="221750"/>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err="1"/>
              <a:t>Unternehmenstransaktionen</a:t>
            </a:r>
            <a:r>
              <a:rPr lang="en-GB" dirty="0"/>
              <a:t> in der </a:t>
            </a:r>
            <a:r>
              <a:rPr lang="en-GB" dirty="0" err="1"/>
              <a:t>Schweiz</a:t>
            </a:r>
            <a:endParaRPr lang="en-GB" dirty="0"/>
          </a:p>
        </p:txBody>
      </p:sp>
      <p:sp>
        <p:nvSpPr>
          <p:cNvPr id="12" name="Date Placeholder 2"/>
          <p:cNvSpPr>
            <a:spLocks noGrp="1"/>
          </p:cNvSpPr>
          <p:nvPr>
            <p:ph type="dt" sz="half" idx="2"/>
          </p:nvPr>
        </p:nvSpPr>
        <p:spPr>
          <a:xfrm>
            <a:off x="1423929" y="7166991"/>
            <a:ext cx="1389936" cy="221750"/>
          </a:xfrm>
          <a:prstGeom prst="rect">
            <a:avLst/>
          </a:prstGeom>
        </p:spPr>
        <p:txBody>
          <a:bodyPr lIns="0" tIns="0" rIns="0" bIns="0" anchor="t" anchorCtr="0"/>
          <a:lstStyle>
            <a:lvl1pPr>
              <a:defRPr sz="1100">
                <a:solidFill>
                  <a:schemeClr val="bg1"/>
                </a:solidFill>
                <a:latin typeface="+mn-lt"/>
                <a:cs typeface="Arial" pitchFamily="34" charset="0"/>
              </a:defRPr>
            </a:lvl1pPr>
          </a:lstStyle>
          <a:p>
            <a:fld id="{DB463A00-1CDD-4A60-B86C-40C2C9314BF0}" type="datetime3">
              <a:rPr lang="en-US" smtClean="0"/>
              <a:pPr/>
              <a:t>19 March 2018</a:t>
            </a:fld>
            <a:endParaRPr lang="en-US" dirty="0"/>
          </a:p>
        </p:txBody>
      </p:sp>
      <p:pic>
        <p:nvPicPr>
          <p:cNvPr id="9" name="Picture 12"/>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722986" y="6975060"/>
            <a:ext cx="434433" cy="453581"/>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 id="2147483682" r:id="rId2"/>
    <p:sldLayoutId id="2147483752" r:id="rId3"/>
    <p:sldLayoutId id="2147483753" r:id="rId4"/>
    <p:sldLayoutId id="2147483683" r:id="rId5"/>
    <p:sldLayoutId id="2147483782" r:id="rId6"/>
    <p:sldLayoutId id="2147483684" r:id="rId7"/>
    <p:sldLayoutId id="2147483685" r:id="rId8"/>
    <p:sldLayoutId id="2147483686" r:id="rId9"/>
    <p:sldLayoutId id="2147483687" r:id="rId10"/>
    <p:sldLayoutId id="2147483688" r:id="rId11"/>
    <p:sldLayoutId id="2147483728" r:id="rId12"/>
    <p:sldLayoutId id="2147483691" r:id="rId13"/>
    <p:sldLayoutId id="2147483692" r:id="rId14"/>
    <p:sldLayoutId id="2147483693" r:id="rId15"/>
    <p:sldLayoutId id="2147483787" r:id="rId16"/>
  </p:sldLayoutIdLst>
  <p:hf sldNum="0" hdr="0"/>
  <p:txStyles>
    <p:titleStyle>
      <a:lvl1pPr algn="l" defTabSz="986912"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84896" indent="-384896" algn="l" defTabSz="986912"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69791" indent="-384896" algn="l" defTabSz="986912"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154687" indent="-384896" algn="l" defTabSz="986912"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539583" indent="-384896" algn="l" defTabSz="986912"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924478" indent="-384896" algn="l" defTabSz="986912"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714008"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6pPr>
      <a:lvl7pPr marL="3207464"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7pPr>
      <a:lvl8pPr marL="3700920"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8pPr>
      <a:lvl9pPr marL="4194376"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9pPr>
    </p:bodyStyle>
    <p:otherStyle>
      <a:defPPr>
        <a:defRPr lang="en-US"/>
      </a:defPPr>
      <a:lvl1pPr marL="0" algn="l" defTabSz="986912" rtl="0" eaLnBrk="1" latinLnBrk="0" hangingPunct="1">
        <a:defRPr sz="1943" kern="1200">
          <a:solidFill>
            <a:schemeClr val="tx1"/>
          </a:solidFill>
          <a:latin typeface="+mn-lt"/>
          <a:ea typeface="+mn-ea"/>
          <a:cs typeface="+mn-cs"/>
        </a:defRPr>
      </a:lvl1pPr>
      <a:lvl2pPr marL="493456" algn="l" defTabSz="986912" rtl="0" eaLnBrk="1" latinLnBrk="0" hangingPunct="1">
        <a:defRPr sz="1943" kern="1200">
          <a:solidFill>
            <a:schemeClr val="tx1"/>
          </a:solidFill>
          <a:latin typeface="+mn-lt"/>
          <a:ea typeface="+mn-ea"/>
          <a:cs typeface="+mn-cs"/>
        </a:defRPr>
      </a:lvl2pPr>
      <a:lvl3pPr marL="986912" algn="l" defTabSz="986912" rtl="0" eaLnBrk="1" latinLnBrk="0" hangingPunct="1">
        <a:defRPr sz="1943" kern="1200">
          <a:solidFill>
            <a:schemeClr val="tx1"/>
          </a:solidFill>
          <a:latin typeface="+mn-lt"/>
          <a:ea typeface="+mn-ea"/>
          <a:cs typeface="+mn-cs"/>
        </a:defRPr>
      </a:lvl3pPr>
      <a:lvl4pPr marL="1480368" algn="l" defTabSz="986912" rtl="0" eaLnBrk="1" latinLnBrk="0" hangingPunct="1">
        <a:defRPr sz="1943" kern="1200">
          <a:solidFill>
            <a:schemeClr val="tx1"/>
          </a:solidFill>
          <a:latin typeface="+mn-lt"/>
          <a:ea typeface="+mn-ea"/>
          <a:cs typeface="+mn-cs"/>
        </a:defRPr>
      </a:lvl4pPr>
      <a:lvl5pPr marL="1973824" algn="l" defTabSz="986912" rtl="0" eaLnBrk="1" latinLnBrk="0" hangingPunct="1">
        <a:defRPr sz="1943" kern="1200">
          <a:solidFill>
            <a:schemeClr val="tx1"/>
          </a:solidFill>
          <a:latin typeface="+mn-lt"/>
          <a:ea typeface="+mn-ea"/>
          <a:cs typeface="+mn-cs"/>
        </a:defRPr>
      </a:lvl5pPr>
      <a:lvl6pPr marL="2467280" algn="l" defTabSz="986912" rtl="0" eaLnBrk="1" latinLnBrk="0" hangingPunct="1">
        <a:defRPr sz="1943" kern="1200">
          <a:solidFill>
            <a:schemeClr val="tx1"/>
          </a:solidFill>
          <a:latin typeface="+mn-lt"/>
          <a:ea typeface="+mn-ea"/>
          <a:cs typeface="+mn-cs"/>
        </a:defRPr>
      </a:lvl6pPr>
      <a:lvl7pPr marL="2960736" algn="l" defTabSz="986912" rtl="0" eaLnBrk="1" latinLnBrk="0" hangingPunct="1">
        <a:defRPr sz="1943" kern="1200">
          <a:solidFill>
            <a:schemeClr val="tx1"/>
          </a:solidFill>
          <a:latin typeface="+mn-lt"/>
          <a:ea typeface="+mn-ea"/>
          <a:cs typeface="+mn-cs"/>
        </a:defRPr>
      </a:lvl7pPr>
      <a:lvl8pPr marL="3454192" algn="l" defTabSz="986912" rtl="0" eaLnBrk="1" latinLnBrk="0" hangingPunct="1">
        <a:defRPr sz="1943" kern="1200">
          <a:solidFill>
            <a:schemeClr val="tx1"/>
          </a:solidFill>
          <a:latin typeface="+mn-lt"/>
          <a:ea typeface="+mn-ea"/>
          <a:cs typeface="+mn-cs"/>
        </a:defRPr>
      </a:lvl8pPr>
      <a:lvl9pPr marL="3947648" algn="l" defTabSz="986912" rtl="0" eaLnBrk="1" latinLnBrk="0" hangingPunct="1">
        <a:defRPr sz="194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4591" y="222227"/>
            <a:ext cx="9622632" cy="948432"/>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534591" y="1571462"/>
            <a:ext cx="9622632" cy="517975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ooter Placeholder 4"/>
          <p:cNvSpPr>
            <a:spLocks noGrp="1"/>
          </p:cNvSpPr>
          <p:nvPr>
            <p:ph type="ftr" sz="quarter" idx="3"/>
          </p:nvPr>
        </p:nvSpPr>
        <p:spPr>
          <a:xfrm>
            <a:off x="3026541" y="7156493"/>
            <a:ext cx="4015744" cy="221750"/>
          </a:xfrm>
          <a:prstGeom prst="rect">
            <a:avLst/>
          </a:prstGeom>
        </p:spPr>
        <p:txBody>
          <a:bodyPr vert="horz" lIns="0" tIns="0" rIns="0" bIns="0" rtlCol="0" anchor="t" anchorCtr="0">
            <a:noAutofit/>
          </a:bodyPr>
          <a:lstStyle>
            <a:lvl1pPr algn="l">
              <a:defRPr sz="1100">
                <a:solidFill>
                  <a:schemeClr val="bg1"/>
                </a:solidFill>
                <a:latin typeface="+mn-lt"/>
              </a:defRPr>
            </a:lvl1pPr>
          </a:lstStyle>
          <a:p>
            <a:r>
              <a:rPr lang="en-GB" dirty="0" err="1"/>
              <a:t>Unternehmenstransaktionen</a:t>
            </a:r>
            <a:r>
              <a:rPr lang="en-GB" dirty="0"/>
              <a:t> in der </a:t>
            </a:r>
            <a:r>
              <a:rPr lang="en-GB" dirty="0" err="1"/>
              <a:t>Schweiz</a:t>
            </a:r>
            <a:endParaRPr lang="en-GB" dirty="0"/>
          </a:p>
        </p:txBody>
      </p:sp>
      <p:sp>
        <p:nvSpPr>
          <p:cNvPr id="13" name="TextBox 12"/>
          <p:cNvSpPr txBox="1"/>
          <p:nvPr/>
        </p:nvSpPr>
        <p:spPr>
          <a:xfrm>
            <a:off x="534591" y="7156493"/>
            <a:ext cx="841875" cy="221750"/>
          </a:xfrm>
          <a:prstGeom prst="rect">
            <a:avLst/>
          </a:prstGeom>
          <a:noFill/>
        </p:spPr>
        <p:txBody>
          <a:bodyPr wrap="square" lIns="0" tIns="0" rIns="0" bIns="0" rtlCol="0" anchor="t" anchorCtr="0">
            <a:noAutofit/>
          </a:bodyPr>
          <a:lstStyle/>
          <a:p>
            <a:r>
              <a:rPr lang="en-GB" sz="1100" dirty="0">
                <a:solidFill>
                  <a:schemeClr val="bg1"/>
                </a:solidFill>
                <a:latin typeface="+mn-lt"/>
              </a:rPr>
              <a:t>Page </a:t>
            </a:r>
            <a:fld id="{9AE4D82F-B047-469B-AC52-A46321747EAF}" type="slidenum">
              <a:rPr lang="en-GB" sz="1100" smtClean="0">
                <a:solidFill>
                  <a:schemeClr val="bg1"/>
                </a:solidFill>
                <a:latin typeface="+mn-lt"/>
              </a:rPr>
              <a:pPr/>
              <a:t>‹Nr.›</a:t>
            </a:fld>
            <a:endParaRPr lang="en-GB" sz="1100" dirty="0">
              <a:solidFill>
                <a:schemeClr val="bg1"/>
              </a:solidFill>
              <a:latin typeface="+mn-lt"/>
            </a:endParaRPr>
          </a:p>
        </p:txBody>
      </p:sp>
      <p:sp>
        <p:nvSpPr>
          <p:cNvPr id="15" name="Date Placeholder 2"/>
          <p:cNvSpPr>
            <a:spLocks noGrp="1"/>
          </p:cNvSpPr>
          <p:nvPr>
            <p:ph type="dt" sz="half" idx="2"/>
          </p:nvPr>
        </p:nvSpPr>
        <p:spPr>
          <a:xfrm>
            <a:off x="1423929" y="7156493"/>
            <a:ext cx="1389936" cy="221750"/>
          </a:xfrm>
          <a:prstGeom prst="rect">
            <a:avLst/>
          </a:prstGeom>
        </p:spPr>
        <p:txBody>
          <a:bodyPr lIns="0" tIns="0" rIns="0" bIns="0" anchor="t" anchorCtr="0"/>
          <a:lstStyle>
            <a:lvl1pPr>
              <a:defRPr sz="1100">
                <a:solidFill>
                  <a:schemeClr val="bg1"/>
                </a:solidFill>
                <a:latin typeface="+mn-lt"/>
                <a:cs typeface="Arial" pitchFamily="34" charset="0"/>
              </a:defRPr>
            </a:lvl1pPr>
          </a:lstStyle>
          <a:p>
            <a:fld id="{617BEC4E-A9C1-4EC2-ADCA-D5CBE58600E2}" type="datetime3">
              <a:rPr lang="en-US" smtClean="0"/>
              <a:pPr/>
              <a:t>19 March 2018</a:t>
            </a:fld>
            <a:endParaRPr lang="en-US" dirty="0"/>
          </a:p>
        </p:txBody>
      </p:sp>
      <p:pic>
        <p:nvPicPr>
          <p:cNvPr id="9" name="Picture 13"/>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9722986" y="6975060"/>
            <a:ext cx="434433" cy="453581"/>
          </a:xfrm>
          <a:prstGeom prst="rect">
            <a:avLst/>
          </a:prstGeom>
        </p:spPr>
      </p:pic>
    </p:spTree>
  </p:cSld>
  <p:clrMap bg1="lt1" tx1="dk1" bg2="lt2" tx2="dk2" accent1="accent1" accent2="accent2" accent3="accent3" accent4="accent4" accent5="accent5" accent6="accent6" hlink="hlink" folHlink="folHlink"/>
  <p:sldLayoutIdLst>
    <p:sldLayoutId id="2147483695" r:id="rId1"/>
    <p:sldLayoutId id="2147483779" r:id="rId2"/>
    <p:sldLayoutId id="2147483773" r:id="rId3"/>
    <p:sldLayoutId id="2147483775" r:id="rId4"/>
    <p:sldLayoutId id="2147483696" r:id="rId5"/>
    <p:sldLayoutId id="2147483754" r:id="rId6"/>
    <p:sldLayoutId id="2147483755" r:id="rId7"/>
    <p:sldLayoutId id="2147483697" r:id="rId8"/>
    <p:sldLayoutId id="2147483781" r:id="rId9"/>
    <p:sldLayoutId id="2147483698" r:id="rId10"/>
    <p:sldLayoutId id="2147483699" r:id="rId11"/>
    <p:sldLayoutId id="2147483700" r:id="rId12"/>
    <p:sldLayoutId id="2147483701" r:id="rId13"/>
    <p:sldLayoutId id="2147483702" r:id="rId14"/>
    <p:sldLayoutId id="2147483729" r:id="rId15"/>
    <p:sldLayoutId id="2147483705" r:id="rId16"/>
    <p:sldLayoutId id="2147483706" r:id="rId17"/>
    <p:sldLayoutId id="2147483707" r:id="rId18"/>
  </p:sldLayoutIdLst>
  <p:hf sldNum="0" hdr="0"/>
  <p:txStyles>
    <p:titleStyle>
      <a:lvl1pPr algn="l" defTabSz="986912"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84896" indent="-384896" algn="l" defTabSz="986912"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69791" indent="-384896" algn="l" defTabSz="986912"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154687" indent="-384896" algn="l" defTabSz="986912"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539583" indent="-384896" algn="l" defTabSz="986912"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924478" indent="-384896" algn="l" defTabSz="986912"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714008"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6pPr>
      <a:lvl7pPr marL="3207464"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7pPr>
      <a:lvl8pPr marL="3700920"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8pPr>
      <a:lvl9pPr marL="4194376"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9pPr>
    </p:bodyStyle>
    <p:otherStyle>
      <a:defPPr>
        <a:defRPr lang="en-US"/>
      </a:defPPr>
      <a:lvl1pPr marL="0" algn="l" defTabSz="986912" rtl="0" eaLnBrk="1" latinLnBrk="0" hangingPunct="1">
        <a:defRPr sz="1943" kern="1200">
          <a:solidFill>
            <a:schemeClr val="tx1"/>
          </a:solidFill>
          <a:latin typeface="+mn-lt"/>
          <a:ea typeface="+mn-ea"/>
          <a:cs typeface="+mn-cs"/>
        </a:defRPr>
      </a:lvl1pPr>
      <a:lvl2pPr marL="493456" algn="l" defTabSz="986912" rtl="0" eaLnBrk="1" latinLnBrk="0" hangingPunct="1">
        <a:defRPr sz="1943" kern="1200">
          <a:solidFill>
            <a:schemeClr val="tx1"/>
          </a:solidFill>
          <a:latin typeface="+mn-lt"/>
          <a:ea typeface="+mn-ea"/>
          <a:cs typeface="+mn-cs"/>
        </a:defRPr>
      </a:lvl2pPr>
      <a:lvl3pPr marL="986912" algn="l" defTabSz="986912" rtl="0" eaLnBrk="1" latinLnBrk="0" hangingPunct="1">
        <a:defRPr sz="1943" kern="1200">
          <a:solidFill>
            <a:schemeClr val="tx1"/>
          </a:solidFill>
          <a:latin typeface="+mn-lt"/>
          <a:ea typeface="+mn-ea"/>
          <a:cs typeface="+mn-cs"/>
        </a:defRPr>
      </a:lvl3pPr>
      <a:lvl4pPr marL="1480368" algn="l" defTabSz="986912" rtl="0" eaLnBrk="1" latinLnBrk="0" hangingPunct="1">
        <a:defRPr sz="1943" kern="1200">
          <a:solidFill>
            <a:schemeClr val="tx1"/>
          </a:solidFill>
          <a:latin typeface="+mn-lt"/>
          <a:ea typeface="+mn-ea"/>
          <a:cs typeface="+mn-cs"/>
        </a:defRPr>
      </a:lvl4pPr>
      <a:lvl5pPr marL="1973824" algn="l" defTabSz="986912" rtl="0" eaLnBrk="1" latinLnBrk="0" hangingPunct="1">
        <a:defRPr sz="1943" kern="1200">
          <a:solidFill>
            <a:schemeClr val="tx1"/>
          </a:solidFill>
          <a:latin typeface="+mn-lt"/>
          <a:ea typeface="+mn-ea"/>
          <a:cs typeface="+mn-cs"/>
        </a:defRPr>
      </a:lvl5pPr>
      <a:lvl6pPr marL="2467280" algn="l" defTabSz="986912" rtl="0" eaLnBrk="1" latinLnBrk="0" hangingPunct="1">
        <a:defRPr sz="1943" kern="1200">
          <a:solidFill>
            <a:schemeClr val="tx1"/>
          </a:solidFill>
          <a:latin typeface="+mn-lt"/>
          <a:ea typeface="+mn-ea"/>
          <a:cs typeface="+mn-cs"/>
        </a:defRPr>
      </a:lvl6pPr>
      <a:lvl7pPr marL="2960736" algn="l" defTabSz="986912" rtl="0" eaLnBrk="1" latinLnBrk="0" hangingPunct="1">
        <a:defRPr sz="1943" kern="1200">
          <a:solidFill>
            <a:schemeClr val="tx1"/>
          </a:solidFill>
          <a:latin typeface="+mn-lt"/>
          <a:ea typeface="+mn-ea"/>
          <a:cs typeface="+mn-cs"/>
        </a:defRPr>
      </a:lvl7pPr>
      <a:lvl8pPr marL="3454192" algn="l" defTabSz="986912" rtl="0" eaLnBrk="1" latinLnBrk="0" hangingPunct="1">
        <a:defRPr sz="1943" kern="1200">
          <a:solidFill>
            <a:schemeClr val="tx1"/>
          </a:solidFill>
          <a:latin typeface="+mn-lt"/>
          <a:ea typeface="+mn-ea"/>
          <a:cs typeface="+mn-cs"/>
        </a:defRPr>
      </a:lvl8pPr>
      <a:lvl9pPr marL="3947648" algn="l" defTabSz="986912" rtl="0" eaLnBrk="1" latinLnBrk="0" hangingPunct="1">
        <a:defRPr sz="194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52.xml"/><Relationship Id="rId4" Type="http://schemas.openxmlformats.org/officeDocument/2006/relationships/image" Target="../media/image19.jpeg"/></Relationships>
</file>

<file path=ppt/slides/_rels/slide1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9.xml"/><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38.xml"/><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38.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8.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30"/>
          <p:cNvSpPr>
            <a:spLocks noChangeAspect="1"/>
          </p:cNvSpPr>
          <p:nvPr/>
        </p:nvSpPr>
        <p:spPr bwMode="gray">
          <a:xfrm>
            <a:off x="-14793" y="-12191"/>
            <a:ext cx="10719124" cy="7571866"/>
          </a:xfrm>
          <a:custGeom>
            <a:avLst/>
            <a:gdLst>
              <a:gd name="connsiteX0" fmla="*/ 0 w 10000"/>
              <a:gd name="connsiteY0" fmla="*/ 0 h 10000"/>
              <a:gd name="connsiteX1" fmla="*/ 0 w 10000"/>
              <a:gd name="connsiteY1" fmla="*/ 10000 h 10000"/>
              <a:gd name="connsiteX2" fmla="*/ 10000 w 10000"/>
              <a:gd name="connsiteY2" fmla="*/ 7029 h 10000"/>
              <a:gd name="connsiteX3" fmla="*/ 10000 w 10000"/>
              <a:gd name="connsiteY3" fmla="*/ 0 h 10000"/>
              <a:gd name="connsiteX4" fmla="*/ 0 w 10000"/>
              <a:gd name="connsiteY4" fmla="*/ 0 h 10000"/>
              <a:gd name="connsiteX0" fmla="*/ 0 w 10012"/>
              <a:gd name="connsiteY0" fmla="*/ 0 h 10031"/>
              <a:gd name="connsiteX1" fmla="*/ 0 w 10012"/>
              <a:gd name="connsiteY1" fmla="*/ 10000 h 10031"/>
              <a:gd name="connsiteX2" fmla="*/ 10012 w 10012"/>
              <a:gd name="connsiteY2" fmla="*/ 10031 h 10031"/>
              <a:gd name="connsiteX3" fmla="*/ 10000 w 10012"/>
              <a:gd name="connsiteY3" fmla="*/ 0 h 10031"/>
              <a:gd name="connsiteX4" fmla="*/ 0 w 10012"/>
              <a:gd name="connsiteY4" fmla="*/ 0 h 10031"/>
              <a:gd name="connsiteX0" fmla="*/ 0 w 10012"/>
              <a:gd name="connsiteY0" fmla="*/ 0 h 10000"/>
              <a:gd name="connsiteX1" fmla="*/ 0 w 10012"/>
              <a:gd name="connsiteY1" fmla="*/ 10000 h 10000"/>
              <a:gd name="connsiteX2" fmla="*/ 10012 w 10012"/>
              <a:gd name="connsiteY2" fmla="*/ 9964 h 10000"/>
              <a:gd name="connsiteX3" fmla="*/ 10000 w 10012"/>
              <a:gd name="connsiteY3" fmla="*/ 0 h 10000"/>
              <a:gd name="connsiteX4" fmla="*/ 0 w 10012"/>
              <a:gd name="connsiteY4" fmla="*/ 0 h 10000"/>
              <a:gd name="connsiteX0" fmla="*/ 0 w 10012"/>
              <a:gd name="connsiteY0" fmla="*/ 0 h 10031"/>
              <a:gd name="connsiteX1" fmla="*/ 0 w 10012"/>
              <a:gd name="connsiteY1" fmla="*/ 10000 h 10031"/>
              <a:gd name="connsiteX2" fmla="*/ 10012 w 10012"/>
              <a:gd name="connsiteY2" fmla="*/ 10031 h 10031"/>
              <a:gd name="connsiteX3" fmla="*/ 10000 w 10012"/>
              <a:gd name="connsiteY3" fmla="*/ 0 h 10031"/>
              <a:gd name="connsiteX4" fmla="*/ 0 w 10012"/>
              <a:gd name="connsiteY4" fmla="*/ 0 h 10031"/>
              <a:gd name="connsiteX0" fmla="*/ 0 w 10012"/>
              <a:gd name="connsiteY0" fmla="*/ 0 h 10000"/>
              <a:gd name="connsiteX1" fmla="*/ 0 w 10012"/>
              <a:gd name="connsiteY1" fmla="*/ 10000 h 10000"/>
              <a:gd name="connsiteX2" fmla="*/ 10012 w 10012"/>
              <a:gd name="connsiteY2" fmla="*/ 9964 h 10000"/>
              <a:gd name="connsiteX3" fmla="*/ 10000 w 10012"/>
              <a:gd name="connsiteY3" fmla="*/ 0 h 10000"/>
              <a:gd name="connsiteX4" fmla="*/ 0 w 10012"/>
              <a:gd name="connsiteY4" fmla="*/ 0 h 10000"/>
              <a:gd name="connsiteX0" fmla="*/ 0 w 10012"/>
              <a:gd name="connsiteY0" fmla="*/ 0 h 10000"/>
              <a:gd name="connsiteX1" fmla="*/ 0 w 10012"/>
              <a:gd name="connsiteY1" fmla="*/ 10000 h 10000"/>
              <a:gd name="connsiteX2" fmla="*/ 10012 w 10012"/>
              <a:gd name="connsiteY2" fmla="*/ 9998 h 10000"/>
              <a:gd name="connsiteX3" fmla="*/ 10000 w 10012"/>
              <a:gd name="connsiteY3" fmla="*/ 0 h 10000"/>
              <a:gd name="connsiteX4" fmla="*/ 0 w 10012"/>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2" h="10000">
                <a:moveTo>
                  <a:pt x="0" y="0"/>
                </a:moveTo>
                <a:lnTo>
                  <a:pt x="0" y="10000"/>
                </a:lnTo>
                <a:lnTo>
                  <a:pt x="10012" y="9998"/>
                </a:lnTo>
                <a:cubicBezTo>
                  <a:pt x="10008" y="6654"/>
                  <a:pt x="10004" y="3344"/>
                  <a:pt x="10000" y="0"/>
                </a:cubicBezTo>
                <a:lnTo>
                  <a:pt x="0" y="0"/>
                </a:lnTo>
                <a:close/>
              </a:path>
            </a:pathLst>
          </a:custGeom>
          <a:blipFill dpi="0" rotWithShape="0">
            <a:blip r:embed="rId3" cstate="screen">
              <a:grayscl/>
              <a:extLst>
                <a:ext uri="{28A0092B-C50C-407E-A947-70E740481C1C}">
                  <a14:useLocalDpi xmlns:a14="http://schemas.microsoft.com/office/drawing/2010/main"/>
                </a:ext>
              </a:extLst>
            </a:blip>
            <a:srcRect/>
            <a:stretch>
              <a:fillRect/>
            </a:stretch>
          </a:blipFill>
          <a:ln w="9525">
            <a:noFill/>
            <a:round/>
            <a:headEnd/>
            <a:tailEnd/>
          </a:ln>
        </p:spPr>
        <p:txBody>
          <a:bodyPr vert="horz" wrap="square" lIns="104271" tIns="52135" rIns="104271" bIns="52135" numCol="1" anchor="t" anchorCtr="0" compatLnSpc="1">
            <a:prstTxWarp prst="textNoShape">
              <a:avLst/>
            </a:prstTxWarp>
          </a:bodyPr>
          <a:lstStyle/>
          <a:p>
            <a:endParaRPr lang="en-US" dirty="0">
              <a:solidFill>
                <a:schemeClr val="bg1"/>
              </a:solidFill>
              <a:cs typeface="Arial" pitchFamily="34" charset="0"/>
            </a:endParaRPr>
          </a:p>
        </p:txBody>
      </p:sp>
      <p:grpSp>
        <p:nvGrpSpPr>
          <p:cNvPr id="14" name="Gruppieren 13"/>
          <p:cNvGrpSpPr/>
          <p:nvPr/>
        </p:nvGrpSpPr>
        <p:grpSpPr>
          <a:xfrm>
            <a:off x="450190" y="1260086"/>
            <a:ext cx="4960673" cy="3360170"/>
            <a:chOff x="436562" y="1999202"/>
            <a:chExt cx="4961715" cy="3360876"/>
          </a:xfrm>
        </p:grpSpPr>
        <p:sp>
          <p:nvSpPr>
            <p:cNvPr id="16" name="Freeform 76"/>
            <p:cNvSpPr>
              <a:spLocks/>
            </p:cNvSpPr>
            <p:nvPr/>
          </p:nvSpPr>
          <p:spPr bwMode="auto">
            <a:xfrm>
              <a:off x="436562" y="1999202"/>
              <a:ext cx="4961715" cy="3360875"/>
            </a:xfrm>
            <a:custGeom>
              <a:avLst/>
              <a:gdLst>
                <a:gd name="T0" fmla="*/ 0 w 2344"/>
                <a:gd name="T1" fmla="*/ 414 h 1976"/>
                <a:gd name="T2" fmla="*/ 0 w 2344"/>
                <a:gd name="T3" fmla="*/ 1772 h 1976"/>
                <a:gd name="T4" fmla="*/ 110 w 2344"/>
                <a:gd name="T5" fmla="*/ 1772 h 1976"/>
                <a:gd name="T6" fmla="*/ 110 w 2344"/>
                <a:gd name="T7" fmla="*/ 506 h 1976"/>
                <a:gd name="T8" fmla="*/ 2234 w 2344"/>
                <a:gd name="T9" fmla="*/ 132 h 1976"/>
                <a:gd name="T10" fmla="*/ 2234 w 2344"/>
                <a:gd name="T11" fmla="*/ 1866 h 1976"/>
                <a:gd name="T12" fmla="*/ 612 w 2344"/>
                <a:gd name="T13" fmla="*/ 1866 h 1976"/>
                <a:gd name="T14" fmla="*/ 612 w 2344"/>
                <a:gd name="T15" fmla="*/ 1976 h 1976"/>
                <a:gd name="T16" fmla="*/ 2344 w 2344"/>
                <a:gd name="T17" fmla="*/ 1976 h 1976"/>
                <a:gd name="T18" fmla="*/ 2344 w 2344"/>
                <a:gd name="T19" fmla="*/ 0 h 1976"/>
                <a:gd name="T20" fmla="*/ 0 w 2344"/>
                <a:gd name="T21" fmla="*/ 414 h 1976"/>
                <a:gd name="connsiteX0" fmla="*/ 0 w 13347"/>
                <a:gd name="connsiteY0" fmla="*/ 2801 h 10706"/>
                <a:gd name="connsiteX1" fmla="*/ 0 w 13347"/>
                <a:gd name="connsiteY1" fmla="*/ 9674 h 10706"/>
                <a:gd name="connsiteX2" fmla="*/ 469 w 13347"/>
                <a:gd name="connsiteY2" fmla="*/ 9674 h 10706"/>
                <a:gd name="connsiteX3" fmla="*/ 469 w 13347"/>
                <a:gd name="connsiteY3" fmla="*/ 3267 h 10706"/>
                <a:gd name="connsiteX4" fmla="*/ 9531 w 13347"/>
                <a:gd name="connsiteY4" fmla="*/ 1374 h 10706"/>
                <a:gd name="connsiteX5" fmla="*/ 9531 w 13347"/>
                <a:gd name="connsiteY5" fmla="*/ 10149 h 10706"/>
                <a:gd name="connsiteX6" fmla="*/ 2611 w 13347"/>
                <a:gd name="connsiteY6" fmla="*/ 10149 h 10706"/>
                <a:gd name="connsiteX7" fmla="*/ 2611 w 13347"/>
                <a:gd name="connsiteY7" fmla="*/ 10706 h 10706"/>
                <a:gd name="connsiteX8" fmla="*/ 10000 w 13347"/>
                <a:gd name="connsiteY8" fmla="*/ 10706 h 10706"/>
                <a:gd name="connsiteX9" fmla="*/ 13347 w 13347"/>
                <a:gd name="connsiteY9" fmla="*/ 0 h 10706"/>
                <a:gd name="connsiteX10" fmla="*/ 0 w 13347"/>
                <a:gd name="connsiteY10" fmla="*/ 2801 h 10706"/>
                <a:gd name="connsiteX0" fmla="*/ 0 w 13347"/>
                <a:gd name="connsiteY0" fmla="*/ 2801 h 10706"/>
                <a:gd name="connsiteX1" fmla="*/ 0 w 13347"/>
                <a:gd name="connsiteY1" fmla="*/ 9674 h 10706"/>
                <a:gd name="connsiteX2" fmla="*/ 469 w 13347"/>
                <a:gd name="connsiteY2" fmla="*/ 9674 h 10706"/>
                <a:gd name="connsiteX3" fmla="*/ 469 w 13347"/>
                <a:gd name="connsiteY3" fmla="*/ 3267 h 10706"/>
                <a:gd name="connsiteX4" fmla="*/ 9531 w 13347"/>
                <a:gd name="connsiteY4" fmla="*/ 1374 h 10706"/>
                <a:gd name="connsiteX5" fmla="*/ 9531 w 13347"/>
                <a:gd name="connsiteY5" fmla="*/ 10149 h 10706"/>
                <a:gd name="connsiteX6" fmla="*/ 2611 w 13347"/>
                <a:gd name="connsiteY6" fmla="*/ 10149 h 10706"/>
                <a:gd name="connsiteX7" fmla="*/ 2611 w 13347"/>
                <a:gd name="connsiteY7" fmla="*/ 10706 h 10706"/>
                <a:gd name="connsiteX8" fmla="*/ 13328 w 13347"/>
                <a:gd name="connsiteY8" fmla="*/ 10698 h 10706"/>
                <a:gd name="connsiteX9" fmla="*/ 13347 w 13347"/>
                <a:gd name="connsiteY9" fmla="*/ 0 h 10706"/>
                <a:gd name="connsiteX10" fmla="*/ 0 w 13347"/>
                <a:gd name="connsiteY10" fmla="*/ 2801 h 10706"/>
                <a:gd name="connsiteX0" fmla="*/ 0 w 13347"/>
                <a:gd name="connsiteY0" fmla="*/ 2801 h 10706"/>
                <a:gd name="connsiteX1" fmla="*/ 0 w 13347"/>
                <a:gd name="connsiteY1" fmla="*/ 9674 h 10706"/>
                <a:gd name="connsiteX2" fmla="*/ 469 w 13347"/>
                <a:gd name="connsiteY2" fmla="*/ 9674 h 10706"/>
                <a:gd name="connsiteX3" fmla="*/ 469 w 13347"/>
                <a:gd name="connsiteY3" fmla="*/ 3267 h 10706"/>
                <a:gd name="connsiteX4" fmla="*/ 9531 w 13347"/>
                <a:gd name="connsiteY4" fmla="*/ 1374 h 10706"/>
                <a:gd name="connsiteX5" fmla="*/ 9531 w 13347"/>
                <a:gd name="connsiteY5" fmla="*/ 10149 h 10706"/>
                <a:gd name="connsiteX6" fmla="*/ 2611 w 13347"/>
                <a:gd name="connsiteY6" fmla="*/ 10149 h 10706"/>
                <a:gd name="connsiteX7" fmla="*/ 2611 w 13347"/>
                <a:gd name="connsiteY7" fmla="*/ 10706 h 10706"/>
                <a:gd name="connsiteX8" fmla="*/ 13328 w 13347"/>
                <a:gd name="connsiteY8" fmla="*/ 10698 h 10706"/>
                <a:gd name="connsiteX9" fmla="*/ 13347 w 13347"/>
                <a:gd name="connsiteY9" fmla="*/ 0 h 10706"/>
                <a:gd name="connsiteX10" fmla="*/ 0 w 13347"/>
                <a:gd name="connsiteY10" fmla="*/ 2801 h 10706"/>
                <a:gd name="connsiteX0" fmla="*/ 0 w 13334"/>
                <a:gd name="connsiteY0" fmla="*/ 2809 h 10714"/>
                <a:gd name="connsiteX1" fmla="*/ 0 w 13334"/>
                <a:gd name="connsiteY1" fmla="*/ 9682 h 10714"/>
                <a:gd name="connsiteX2" fmla="*/ 469 w 13334"/>
                <a:gd name="connsiteY2" fmla="*/ 9682 h 10714"/>
                <a:gd name="connsiteX3" fmla="*/ 469 w 13334"/>
                <a:gd name="connsiteY3" fmla="*/ 3275 h 10714"/>
                <a:gd name="connsiteX4" fmla="*/ 9531 w 13334"/>
                <a:gd name="connsiteY4" fmla="*/ 1382 h 10714"/>
                <a:gd name="connsiteX5" fmla="*/ 9531 w 13334"/>
                <a:gd name="connsiteY5" fmla="*/ 10157 h 10714"/>
                <a:gd name="connsiteX6" fmla="*/ 2611 w 13334"/>
                <a:gd name="connsiteY6" fmla="*/ 10157 h 10714"/>
                <a:gd name="connsiteX7" fmla="*/ 2611 w 13334"/>
                <a:gd name="connsiteY7" fmla="*/ 10714 h 10714"/>
                <a:gd name="connsiteX8" fmla="*/ 13328 w 13334"/>
                <a:gd name="connsiteY8" fmla="*/ 10706 h 10714"/>
                <a:gd name="connsiteX9" fmla="*/ 13334 w 13334"/>
                <a:gd name="connsiteY9" fmla="*/ 0 h 10714"/>
                <a:gd name="connsiteX10" fmla="*/ 0 w 13334"/>
                <a:gd name="connsiteY10" fmla="*/ 2809 h 10714"/>
                <a:gd name="connsiteX0" fmla="*/ 0 w 13334"/>
                <a:gd name="connsiteY0" fmla="*/ 2809 h 10714"/>
                <a:gd name="connsiteX1" fmla="*/ 0 w 13334"/>
                <a:gd name="connsiteY1" fmla="*/ 9682 h 10714"/>
                <a:gd name="connsiteX2" fmla="*/ 469 w 13334"/>
                <a:gd name="connsiteY2" fmla="*/ 9682 h 10714"/>
                <a:gd name="connsiteX3" fmla="*/ 469 w 13334"/>
                <a:gd name="connsiteY3" fmla="*/ 3275 h 10714"/>
                <a:gd name="connsiteX4" fmla="*/ 9531 w 13334"/>
                <a:gd name="connsiteY4" fmla="*/ 1382 h 10714"/>
                <a:gd name="connsiteX5" fmla="*/ 9531 w 13334"/>
                <a:gd name="connsiteY5" fmla="*/ 10157 h 10714"/>
                <a:gd name="connsiteX6" fmla="*/ 2611 w 13334"/>
                <a:gd name="connsiteY6" fmla="*/ 10157 h 10714"/>
                <a:gd name="connsiteX7" fmla="*/ 2611 w 13334"/>
                <a:gd name="connsiteY7" fmla="*/ 10714 h 10714"/>
                <a:gd name="connsiteX8" fmla="*/ 13328 w 13334"/>
                <a:gd name="connsiteY8" fmla="*/ 10706 h 10714"/>
                <a:gd name="connsiteX9" fmla="*/ 13334 w 13334"/>
                <a:gd name="connsiteY9" fmla="*/ 0 h 10714"/>
                <a:gd name="connsiteX10" fmla="*/ 0 w 13334"/>
                <a:gd name="connsiteY10" fmla="*/ 2809 h 10714"/>
                <a:gd name="connsiteX0" fmla="*/ 0 w 13334"/>
                <a:gd name="connsiteY0" fmla="*/ 2809 h 10714"/>
                <a:gd name="connsiteX1" fmla="*/ 0 w 13334"/>
                <a:gd name="connsiteY1" fmla="*/ 9682 h 10714"/>
                <a:gd name="connsiteX2" fmla="*/ 469 w 13334"/>
                <a:gd name="connsiteY2" fmla="*/ 9682 h 10714"/>
                <a:gd name="connsiteX3" fmla="*/ 469 w 13334"/>
                <a:gd name="connsiteY3" fmla="*/ 3275 h 10714"/>
                <a:gd name="connsiteX4" fmla="*/ 12903 w 13334"/>
                <a:gd name="connsiteY4" fmla="*/ 668 h 10714"/>
                <a:gd name="connsiteX5" fmla="*/ 9531 w 13334"/>
                <a:gd name="connsiteY5" fmla="*/ 10157 h 10714"/>
                <a:gd name="connsiteX6" fmla="*/ 2611 w 13334"/>
                <a:gd name="connsiteY6" fmla="*/ 10157 h 10714"/>
                <a:gd name="connsiteX7" fmla="*/ 2611 w 13334"/>
                <a:gd name="connsiteY7" fmla="*/ 10714 h 10714"/>
                <a:gd name="connsiteX8" fmla="*/ 13328 w 13334"/>
                <a:gd name="connsiteY8" fmla="*/ 10706 h 10714"/>
                <a:gd name="connsiteX9" fmla="*/ 13334 w 13334"/>
                <a:gd name="connsiteY9" fmla="*/ 0 h 10714"/>
                <a:gd name="connsiteX10" fmla="*/ 0 w 13334"/>
                <a:gd name="connsiteY10" fmla="*/ 2809 h 10714"/>
                <a:gd name="connsiteX0" fmla="*/ 0 w 13334"/>
                <a:gd name="connsiteY0" fmla="*/ 2809 h 10714"/>
                <a:gd name="connsiteX1" fmla="*/ 0 w 13334"/>
                <a:gd name="connsiteY1" fmla="*/ 9682 h 10714"/>
                <a:gd name="connsiteX2" fmla="*/ 469 w 13334"/>
                <a:gd name="connsiteY2" fmla="*/ 9682 h 10714"/>
                <a:gd name="connsiteX3" fmla="*/ 469 w 13334"/>
                <a:gd name="connsiteY3" fmla="*/ 3275 h 10714"/>
                <a:gd name="connsiteX4" fmla="*/ 12903 w 13334"/>
                <a:gd name="connsiteY4" fmla="*/ 668 h 10714"/>
                <a:gd name="connsiteX5" fmla="*/ 12910 w 13334"/>
                <a:gd name="connsiteY5" fmla="*/ 10165 h 10714"/>
                <a:gd name="connsiteX6" fmla="*/ 2611 w 13334"/>
                <a:gd name="connsiteY6" fmla="*/ 10157 h 10714"/>
                <a:gd name="connsiteX7" fmla="*/ 2611 w 13334"/>
                <a:gd name="connsiteY7" fmla="*/ 10714 h 10714"/>
                <a:gd name="connsiteX8" fmla="*/ 13328 w 13334"/>
                <a:gd name="connsiteY8" fmla="*/ 10706 h 10714"/>
                <a:gd name="connsiteX9" fmla="*/ 13334 w 13334"/>
                <a:gd name="connsiteY9" fmla="*/ 0 h 10714"/>
                <a:gd name="connsiteX10" fmla="*/ 0 w 13334"/>
                <a:gd name="connsiteY10" fmla="*/ 2809 h 10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334" h="10714">
                  <a:moveTo>
                    <a:pt x="0" y="2809"/>
                  </a:moveTo>
                  <a:lnTo>
                    <a:pt x="0" y="9682"/>
                  </a:lnTo>
                  <a:lnTo>
                    <a:pt x="469" y="9682"/>
                  </a:lnTo>
                  <a:lnTo>
                    <a:pt x="469" y="3275"/>
                  </a:lnTo>
                  <a:lnTo>
                    <a:pt x="12903" y="668"/>
                  </a:lnTo>
                  <a:cubicBezTo>
                    <a:pt x="12905" y="3834"/>
                    <a:pt x="12908" y="6999"/>
                    <a:pt x="12910" y="10165"/>
                  </a:cubicBezTo>
                  <a:lnTo>
                    <a:pt x="2611" y="10157"/>
                  </a:lnTo>
                  <a:lnTo>
                    <a:pt x="2611" y="10714"/>
                  </a:lnTo>
                  <a:lnTo>
                    <a:pt x="13328" y="10706"/>
                  </a:lnTo>
                  <a:cubicBezTo>
                    <a:pt x="13334" y="7140"/>
                    <a:pt x="13328" y="3566"/>
                    <a:pt x="13334" y="0"/>
                  </a:cubicBezTo>
                  <a:lnTo>
                    <a:pt x="0" y="2809"/>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1" tIns="45710" rIns="91421" bIns="45710" numCol="1" anchor="t" anchorCtr="0" compatLnSpc="1">
              <a:prstTxWarp prst="textNoShape">
                <a:avLst/>
              </a:prstTxWarp>
            </a:bodyPr>
            <a:lstStyle/>
            <a:p>
              <a:pPr algn="l" eaLnBrk="1" hangingPunct="1">
                <a:spcBef>
                  <a:spcPct val="0"/>
                </a:spcBef>
                <a:spcAft>
                  <a:spcPct val="50000"/>
                </a:spcAft>
                <a:buClr>
                  <a:srgbClr val="FFE600"/>
                </a:buClr>
                <a:buSzPct val="80000"/>
                <a:buFont typeface="Arial" charset="0"/>
                <a:buNone/>
              </a:pPr>
              <a:endParaRPr lang="en-US" sz="900" noProof="1">
                <a:solidFill>
                  <a:srgbClr val="000000"/>
                </a:solidFill>
                <a:latin typeface="EYInterstate Light" pitchFamily="2" charset="0"/>
              </a:endParaRPr>
            </a:p>
          </p:txBody>
        </p:sp>
        <p:sp>
          <p:nvSpPr>
            <p:cNvPr id="17" name="Rectangle 74"/>
            <p:cNvSpPr>
              <a:spLocks noChangeArrowheads="1"/>
            </p:cNvSpPr>
            <p:nvPr/>
          </p:nvSpPr>
          <p:spPr bwMode="auto">
            <a:xfrm>
              <a:off x="760413" y="5185453"/>
              <a:ext cx="174625" cy="174625"/>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1" tIns="45710" rIns="91421" bIns="45710" numCol="1" anchor="t" anchorCtr="0" compatLnSpc="1">
              <a:prstTxWarp prst="textNoShape">
                <a:avLst/>
              </a:prstTxWarp>
            </a:bodyPr>
            <a:lstStyle/>
            <a:p>
              <a:pPr algn="l" eaLnBrk="1" hangingPunct="1">
                <a:spcBef>
                  <a:spcPct val="0"/>
                </a:spcBef>
                <a:spcAft>
                  <a:spcPct val="50000"/>
                </a:spcAft>
                <a:buClr>
                  <a:srgbClr val="FFE600"/>
                </a:buClr>
                <a:buSzPct val="80000"/>
                <a:buFont typeface="Arial" charset="0"/>
                <a:buNone/>
              </a:pPr>
              <a:endParaRPr lang="en-US" sz="900" noProof="1">
                <a:solidFill>
                  <a:srgbClr val="000000"/>
                </a:solidFill>
                <a:latin typeface="EYInterstate Light" pitchFamily="2" charset="0"/>
              </a:endParaRPr>
            </a:p>
          </p:txBody>
        </p:sp>
        <p:sp>
          <p:nvSpPr>
            <p:cNvPr id="18" name="Rectangle 75"/>
            <p:cNvSpPr>
              <a:spLocks noChangeArrowheads="1"/>
            </p:cNvSpPr>
            <p:nvPr/>
          </p:nvSpPr>
          <p:spPr bwMode="auto">
            <a:xfrm>
              <a:off x="436563" y="5185453"/>
              <a:ext cx="174625" cy="174625"/>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1" tIns="45710" rIns="91421" bIns="45710" numCol="1" anchor="t" anchorCtr="0" compatLnSpc="1">
              <a:prstTxWarp prst="textNoShape">
                <a:avLst/>
              </a:prstTxWarp>
            </a:bodyPr>
            <a:lstStyle/>
            <a:p>
              <a:pPr algn="l" eaLnBrk="1" hangingPunct="1">
                <a:spcBef>
                  <a:spcPct val="0"/>
                </a:spcBef>
                <a:spcAft>
                  <a:spcPct val="50000"/>
                </a:spcAft>
                <a:buClr>
                  <a:srgbClr val="FFE600"/>
                </a:buClr>
                <a:buSzPct val="80000"/>
                <a:buFont typeface="Arial" charset="0"/>
                <a:buNone/>
              </a:pPr>
              <a:endParaRPr lang="en-US" sz="900" noProof="1">
                <a:solidFill>
                  <a:srgbClr val="000000"/>
                </a:solidFill>
                <a:latin typeface="EYInterstate Light" pitchFamily="2" charset="0"/>
              </a:endParaRPr>
            </a:p>
          </p:txBody>
        </p:sp>
        <p:sp>
          <p:nvSpPr>
            <p:cNvPr id="19" name="Rectangle 77"/>
            <p:cNvSpPr>
              <a:spLocks noChangeArrowheads="1"/>
            </p:cNvSpPr>
            <p:nvPr/>
          </p:nvSpPr>
          <p:spPr bwMode="auto">
            <a:xfrm>
              <a:off x="1084263" y="5185453"/>
              <a:ext cx="174625" cy="174625"/>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1" tIns="45710" rIns="91421" bIns="45710" numCol="1" anchor="t" anchorCtr="0" compatLnSpc="1">
              <a:prstTxWarp prst="textNoShape">
                <a:avLst/>
              </a:prstTxWarp>
            </a:bodyPr>
            <a:lstStyle/>
            <a:p>
              <a:pPr algn="l" eaLnBrk="1" hangingPunct="1">
                <a:spcBef>
                  <a:spcPct val="0"/>
                </a:spcBef>
                <a:spcAft>
                  <a:spcPct val="50000"/>
                </a:spcAft>
                <a:buClr>
                  <a:srgbClr val="FFE600"/>
                </a:buClr>
                <a:buSzPct val="80000"/>
                <a:buFont typeface="Arial" charset="0"/>
                <a:buNone/>
              </a:pPr>
              <a:endParaRPr lang="en-US" sz="900" noProof="1">
                <a:solidFill>
                  <a:srgbClr val="000000"/>
                </a:solidFill>
                <a:latin typeface="EYInterstate Light" pitchFamily="2" charset="0"/>
              </a:endParaRPr>
            </a:p>
          </p:txBody>
        </p:sp>
      </p:grpSp>
      <p:grpSp>
        <p:nvGrpSpPr>
          <p:cNvPr id="20" name="Gruppieren 19"/>
          <p:cNvGrpSpPr/>
          <p:nvPr/>
        </p:nvGrpSpPr>
        <p:grpSpPr>
          <a:xfrm>
            <a:off x="436021" y="6618486"/>
            <a:ext cx="3642092" cy="551870"/>
            <a:chOff x="435783" y="6619876"/>
            <a:chExt cx="3642857" cy="551986"/>
          </a:xfrm>
        </p:grpSpPr>
        <p:grpSp>
          <p:nvGrpSpPr>
            <p:cNvPr id="21" name="Gruppieren 20"/>
            <p:cNvGrpSpPr/>
            <p:nvPr/>
          </p:nvGrpSpPr>
          <p:grpSpPr>
            <a:xfrm>
              <a:off x="449956" y="6619876"/>
              <a:ext cx="396209" cy="84137"/>
              <a:chOff x="588963" y="5256213"/>
              <a:chExt cx="822325" cy="174625"/>
            </a:xfrm>
          </p:grpSpPr>
          <p:sp>
            <p:nvSpPr>
              <p:cNvPr id="23" name="Rectangle 74"/>
              <p:cNvSpPr>
                <a:spLocks noChangeArrowheads="1"/>
              </p:cNvSpPr>
              <p:nvPr/>
            </p:nvSpPr>
            <p:spPr bwMode="auto">
              <a:xfrm>
                <a:off x="912813" y="5256213"/>
                <a:ext cx="174625" cy="174625"/>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1" tIns="45710" rIns="91421" bIns="45710" numCol="1" anchor="t" anchorCtr="0" compatLnSpc="1">
                <a:prstTxWarp prst="textNoShape">
                  <a:avLst/>
                </a:prstTxWarp>
              </a:bodyPr>
              <a:lstStyle/>
              <a:p>
                <a:pPr algn="l" eaLnBrk="1" hangingPunct="1">
                  <a:spcBef>
                    <a:spcPct val="0"/>
                  </a:spcBef>
                  <a:spcAft>
                    <a:spcPct val="50000"/>
                  </a:spcAft>
                  <a:buClr>
                    <a:srgbClr val="FFE600"/>
                  </a:buClr>
                  <a:buSzPct val="80000"/>
                  <a:buFont typeface="Arial" charset="0"/>
                  <a:buNone/>
                </a:pPr>
                <a:endParaRPr lang="en-US" sz="900" noProof="1">
                  <a:solidFill>
                    <a:srgbClr val="000000"/>
                  </a:solidFill>
                  <a:latin typeface="EYInterstate Light" pitchFamily="2" charset="0"/>
                </a:endParaRPr>
              </a:p>
            </p:txBody>
          </p:sp>
          <p:sp>
            <p:nvSpPr>
              <p:cNvPr id="25" name="Rectangle 75"/>
              <p:cNvSpPr>
                <a:spLocks noChangeArrowheads="1"/>
              </p:cNvSpPr>
              <p:nvPr/>
            </p:nvSpPr>
            <p:spPr bwMode="auto">
              <a:xfrm>
                <a:off x="588963" y="5256213"/>
                <a:ext cx="174625" cy="174625"/>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1" tIns="45710" rIns="91421" bIns="45710" numCol="1" anchor="t" anchorCtr="0" compatLnSpc="1">
                <a:prstTxWarp prst="textNoShape">
                  <a:avLst/>
                </a:prstTxWarp>
              </a:bodyPr>
              <a:lstStyle/>
              <a:p>
                <a:pPr algn="l" eaLnBrk="1" hangingPunct="1">
                  <a:spcBef>
                    <a:spcPct val="0"/>
                  </a:spcBef>
                  <a:spcAft>
                    <a:spcPct val="50000"/>
                  </a:spcAft>
                  <a:buClr>
                    <a:srgbClr val="FFE600"/>
                  </a:buClr>
                  <a:buSzPct val="80000"/>
                  <a:buFont typeface="Arial" charset="0"/>
                  <a:buNone/>
                </a:pPr>
                <a:endParaRPr lang="en-US" sz="900" noProof="1">
                  <a:solidFill>
                    <a:srgbClr val="000000"/>
                  </a:solidFill>
                  <a:latin typeface="EYInterstate Light" pitchFamily="2" charset="0"/>
                </a:endParaRPr>
              </a:p>
            </p:txBody>
          </p:sp>
          <p:sp>
            <p:nvSpPr>
              <p:cNvPr id="26" name="Rectangle 77"/>
              <p:cNvSpPr>
                <a:spLocks noChangeArrowheads="1"/>
              </p:cNvSpPr>
              <p:nvPr/>
            </p:nvSpPr>
            <p:spPr bwMode="auto">
              <a:xfrm>
                <a:off x="1236663" y="5256213"/>
                <a:ext cx="174625" cy="174625"/>
              </a:xfrm>
              <a:prstGeom prst="rect">
                <a:avLst/>
              </a:prstGeom>
              <a:solidFill>
                <a:srgbClr val="FFE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1" tIns="45710" rIns="91421" bIns="45710" numCol="1" anchor="t" anchorCtr="0" compatLnSpc="1">
                <a:prstTxWarp prst="textNoShape">
                  <a:avLst/>
                </a:prstTxWarp>
              </a:bodyPr>
              <a:lstStyle/>
              <a:p>
                <a:pPr algn="l" eaLnBrk="1" hangingPunct="1">
                  <a:spcBef>
                    <a:spcPct val="0"/>
                  </a:spcBef>
                  <a:spcAft>
                    <a:spcPct val="50000"/>
                  </a:spcAft>
                  <a:buClr>
                    <a:srgbClr val="FFE600"/>
                  </a:buClr>
                  <a:buSzPct val="80000"/>
                  <a:buFont typeface="Arial" charset="0"/>
                  <a:buNone/>
                </a:pPr>
                <a:endParaRPr lang="en-US" sz="900" noProof="1">
                  <a:solidFill>
                    <a:srgbClr val="000000"/>
                  </a:solidFill>
                  <a:latin typeface="EYInterstate Light" pitchFamily="2" charset="0"/>
                </a:endParaRPr>
              </a:p>
            </p:txBody>
          </p:sp>
        </p:grpSp>
        <p:sp>
          <p:nvSpPr>
            <p:cNvPr id="22" name="Rechteck 21"/>
            <p:cNvSpPr/>
            <p:nvPr/>
          </p:nvSpPr>
          <p:spPr>
            <a:xfrm>
              <a:off x="435783" y="6812789"/>
              <a:ext cx="3642857" cy="359073"/>
            </a:xfrm>
            <a:prstGeom prst="rect">
              <a:avLst/>
            </a:prstGeom>
          </p:spPr>
          <p:txBody>
            <a:bodyPr wrap="none" lIns="0" tIns="0" rIns="0" bIns="0">
              <a:spAutoFit/>
            </a:bodyPr>
            <a:lstStyle/>
            <a:p>
              <a:pPr>
                <a:lnSpc>
                  <a:spcPts val="1400"/>
                </a:lnSpc>
                <a:spcBef>
                  <a:spcPct val="0"/>
                </a:spcBef>
                <a:spcAft>
                  <a:spcPct val="50000"/>
                </a:spcAft>
                <a:buClr>
                  <a:srgbClr val="FFE600"/>
                </a:buClr>
                <a:buSzPct val="80000"/>
              </a:pPr>
              <a:r>
                <a:rPr lang="en-US" sz="1300" noProof="1">
                  <a:solidFill>
                    <a:schemeClr val="tx2"/>
                  </a:solidFill>
                  <a:latin typeface="EYInterstate"/>
                </a:rPr>
                <a:t>The better the question. The better the answer.</a:t>
              </a:r>
              <a:br>
                <a:rPr lang="en-US" sz="1300" noProof="1">
                  <a:solidFill>
                    <a:schemeClr val="tx2"/>
                  </a:solidFill>
                  <a:latin typeface="EYInterstate"/>
                </a:rPr>
              </a:br>
              <a:r>
                <a:rPr lang="en-US" sz="1300" noProof="1">
                  <a:solidFill>
                    <a:schemeClr val="tx2"/>
                  </a:solidFill>
                  <a:latin typeface="EYInterstate"/>
                </a:rPr>
                <a:t>The better the world works.</a:t>
              </a:r>
            </a:p>
          </p:txBody>
        </p:sp>
      </p:grpSp>
      <p:grpSp>
        <p:nvGrpSpPr>
          <p:cNvPr id="27" name="Gruppieren 26"/>
          <p:cNvGrpSpPr/>
          <p:nvPr/>
        </p:nvGrpSpPr>
        <p:grpSpPr>
          <a:xfrm>
            <a:off x="9177327" y="5893150"/>
            <a:ext cx="1088796" cy="1272909"/>
            <a:chOff x="9178925" y="5894388"/>
            <a:chExt cx="1089025" cy="1273176"/>
          </a:xfrm>
        </p:grpSpPr>
        <p:sp>
          <p:nvSpPr>
            <p:cNvPr id="28" name="Freeform 9"/>
            <p:cNvSpPr>
              <a:spLocks/>
            </p:cNvSpPr>
            <p:nvPr/>
          </p:nvSpPr>
          <p:spPr bwMode="auto">
            <a:xfrm>
              <a:off x="9178925" y="5894388"/>
              <a:ext cx="873125" cy="317500"/>
            </a:xfrm>
            <a:custGeom>
              <a:avLst/>
              <a:gdLst>
                <a:gd name="T0" fmla="*/ 2747 w 2747"/>
                <a:gd name="T1" fmla="*/ 0 h 1001"/>
                <a:gd name="T2" fmla="*/ 0 w 2747"/>
                <a:gd name="T3" fmla="*/ 1001 h 1001"/>
                <a:gd name="T4" fmla="*/ 2747 w 2747"/>
                <a:gd name="T5" fmla="*/ 516 h 1001"/>
                <a:gd name="T6" fmla="*/ 2747 w 2747"/>
                <a:gd name="T7" fmla="*/ 0 h 1001"/>
              </a:gdLst>
              <a:ahLst/>
              <a:cxnLst>
                <a:cxn ang="0">
                  <a:pos x="T0" y="T1"/>
                </a:cxn>
                <a:cxn ang="0">
                  <a:pos x="T2" y="T3"/>
                </a:cxn>
                <a:cxn ang="0">
                  <a:pos x="T4" y="T5"/>
                </a:cxn>
                <a:cxn ang="0">
                  <a:pos x="T6" y="T7"/>
                </a:cxn>
              </a:cxnLst>
              <a:rect l="0" t="0" r="r" b="b"/>
              <a:pathLst>
                <a:path w="2747" h="1001">
                  <a:moveTo>
                    <a:pt x="2747" y="0"/>
                  </a:moveTo>
                  <a:lnTo>
                    <a:pt x="0" y="1001"/>
                  </a:lnTo>
                  <a:lnTo>
                    <a:pt x="2747" y="516"/>
                  </a:lnTo>
                  <a:lnTo>
                    <a:pt x="2747"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1" tIns="45710" rIns="91421" bIns="45710" numCol="1" anchor="t" anchorCtr="0" compatLnSpc="1">
              <a:prstTxWarp prst="textNoShape">
                <a:avLst/>
              </a:prstTxWarp>
            </a:bodyPr>
            <a:lstStyle/>
            <a:p>
              <a:pPr algn="l" eaLnBrk="1" hangingPunct="1">
                <a:spcBef>
                  <a:spcPct val="0"/>
                </a:spcBef>
                <a:spcAft>
                  <a:spcPct val="50000"/>
                </a:spcAft>
                <a:buClr>
                  <a:srgbClr val="FFE600"/>
                </a:buClr>
                <a:buSzPct val="80000"/>
                <a:buFont typeface="Arial" charset="0"/>
                <a:buNone/>
              </a:pPr>
              <a:endParaRPr lang="en-US" sz="900" noProof="1">
                <a:solidFill>
                  <a:srgbClr val="000000"/>
                </a:solidFill>
                <a:latin typeface="EYInterstate Light" pitchFamily="2" charset="0"/>
              </a:endParaRPr>
            </a:p>
          </p:txBody>
        </p:sp>
        <p:sp>
          <p:nvSpPr>
            <p:cNvPr id="29" name="Freeform 10"/>
            <p:cNvSpPr>
              <a:spLocks noEditPoints="1"/>
            </p:cNvSpPr>
            <p:nvPr/>
          </p:nvSpPr>
          <p:spPr bwMode="auto">
            <a:xfrm>
              <a:off x="9178925" y="6343651"/>
              <a:ext cx="1089025" cy="823913"/>
            </a:xfrm>
            <a:custGeom>
              <a:avLst/>
              <a:gdLst>
                <a:gd name="T0" fmla="*/ 259 w 3430"/>
                <a:gd name="T1" fmla="*/ 1760 h 2593"/>
                <a:gd name="T2" fmla="*/ 281 w 3430"/>
                <a:gd name="T3" fmla="*/ 1990 h 2593"/>
                <a:gd name="T4" fmla="*/ 168 w 3430"/>
                <a:gd name="T5" fmla="*/ 2006 h 2593"/>
                <a:gd name="T6" fmla="*/ 390 w 3430"/>
                <a:gd name="T7" fmla="*/ 1952 h 2593"/>
                <a:gd name="T8" fmla="*/ 462 w 3430"/>
                <a:gd name="T9" fmla="*/ 2058 h 2593"/>
                <a:gd name="T10" fmla="*/ 1266 w 3430"/>
                <a:gd name="T11" fmla="*/ 1831 h 2593"/>
                <a:gd name="T12" fmla="*/ 1351 w 3430"/>
                <a:gd name="T13" fmla="*/ 1926 h 2593"/>
                <a:gd name="T14" fmla="*/ 774 w 3430"/>
                <a:gd name="T15" fmla="*/ 1713 h 2593"/>
                <a:gd name="T16" fmla="*/ 820 w 3430"/>
                <a:gd name="T17" fmla="*/ 1896 h 2593"/>
                <a:gd name="T18" fmla="*/ 955 w 3430"/>
                <a:gd name="T19" fmla="*/ 2055 h 2593"/>
                <a:gd name="T20" fmla="*/ 924 w 3430"/>
                <a:gd name="T21" fmla="*/ 1866 h 2593"/>
                <a:gd name="T22" fmla="*/ 2245 w 3430"/>
                <a:gd name="T23" fmla="*/ 2062 h 2593"/>
                <a:gd name="T24" fmla="*/ 2397 w 3430"/>
                <a:gd name="T25" fmla="*/ 1936 h 2593"/>
                <a:gd name="T26" fmla="*/ 2333 w 3430"/>
                <a:gd name="T27" fmla="*/ 1918 h 2593"/>
                <a:gd name="T28" fmla="*/ 2287 w 3430"/>
                <a:gd name="T29" fmla="*/ 1866 h 2593"/>
                <a:gd name="T30" fmla="*/ 1454 w 3430"/>
                <a:gd name="T31" fmla="*/ 1923 h 2593"/>
                <a:gd name="T32" fmla="*/ 1605 w 3430"/>
                <a:gd name="T33" fmla="*/ 2044 h 2593"/>
                <a:gd name="T34" fmla="*/ 1637 w 3430"/>
                <a:gd name="T35" fmla="*/ 2132 h 2593"/>
                <a:gd name="T36" fmla="*/ 1520 w 3430"/>
                <a:gd name="T37" fmla="*/ 1974 h 2593"/>
                <a:gd name="T38" fmla="*/ 1918 w 3430"/>
                <a:gd name="T39" fmla="*/ 1859 h 2593"/>
                <a:gd name="T40" fmla="*/ 1813 w 3430"/>
                <a:gd name="T41" fmla="*/ 1970 h 2593"/>
                <a:gd name="T42" fmla="*/ 2024 w 3430"/>
                <a:gd name="T43" fmla="*/ 1896 h 2593"/>
                <a:gd name="T44" fmla="*/ 1873 w 3430"/>
                <a:gd name="T45" fmla="*/ 1980 h 2593"/>
                <a:gd name="T46" fmla="*/ 1898 w 3430"/>
                <a:gd name="T47" fmla="*/ 2014 h 2593"/>
                <a:gd name="T48" fmla="*/ 2489 w 3430"/>
                <a:gd name="T49" fmla="*/ 1958 h 2593"/>
                <a:gd name="T50" fmla="*/ 2474 w 3430"/>
                <a:gd name="T51" fmla="*/ 1832 h 2593"/>
                <a:gd name="T52" fmla="*/ 2544 w 3430"/>
                <a:gd name="T53" fmla="*/ 2068 h 2593"/>
                <a:gd name="T54" fmla="*/ 2578 w 3430"/>
                <a:gd name="T55" fmla="*/ 1894 h 2593"/>
                <a:gd name="T56" fmla="*/ 3230 w 3430"/>
                <a:gd name="T57" fmla="*/ 1940 h 2593"/>
                <a:gd name="T58" fmla="*/ 3033 w 3430"/>
                <a:gd name="T59" fmla="*/ 1865 h 2593"/>
                <a:gd name="T60" fmla="*/ 3168 w 3430"/>
                <a:gd name="T61" fmla="*/ 2062 h 2593"/>
                <a:gd name="T62" fmla="*/ 2931 w 3430"/>
                <a:gd name="T63" fmla="*/ 1976 h 2593"/>
                <a:gd name="T64" fmla="*/ 2893 w 3430"/>
                <a:gd name="T65" fmla="*/ 2054 h 2593"/>
                <a:gd name="T66" fmla="*/ 2737 w 3430"/>
                <a:gd name="T67" fmla="*/ 2063 h 2593"/>
                <a:gd name="T68" fmla="*/ 2772 w 3430"/>
                <a:gd name="T69" fmla="*/ 2008 h 2593"/>
                <a:gd name="T70" fmla="*/ 3329 w 3430"/>
                <a:gd name="T71" fmla="*/ 1816 h 2593"/>
                <a:gd name="T72" fmla="*/ 1082 w 3430"/>
                <a:gd name="T73" fmla="*/ 2062 h 2593"/>
                <a:gd name="T74" fmla="*/ 2683 w 3430"/>
                <a:gd name="T75" fmla="*/ 2293 h 2593"/>
                <a:gd name="T76" fmla="*/ 2788 w 3430"/>
                <a:gd name="T77" fmla="*/ 2495 h 2593"/>
                <a:gd name="T78" fmla="*/ 2761 w 3430"/>
                <a:gd name="T79" fmla="*/ 2299 h 2593"/>
                <a:gd name="T80" fmla="*/ 696 w 3430"/>
                <a:gd name="T81" fmla="*/ 2303 h 2593"/>
                <a:gd name="T82" fmla="*/ 747 w 3430"/>
                <a:gd name="T83" fmla="*/ 2315 h 2593"/>
                <a:gd name="T84" fmla="*/ 224 w 3430"/>
                <a:gd name="T85" fmla="*/ 2367 h 2593"/>
                <a:gd name="T86" fmla="*/ 344 w 3430"/>
                <a:gd name="T87" fmla="*/ 2410 h 2593"/>
                <a:gd name="T88" fmla="*/ 559 w 3430"/>
                <a:gd name="T89" fmla="*/ 2410 h 2593"/>
                <a:gd name="T90" fmla="*/ 416 w 3430"/>
                <a:gd name="T91" fmla="*/ 2422 h 2593"/>
                <a:gd name="T92" fmla="*/ 488 w 3430"/>
                <a:gd name="T93" fmla="*/ 2422 h 2593"/>
                <a:gd name="T94" fmla="*/ 2441 w 3430"/>
                <a:gd name="T95" fmla="*/ 2261 h 2593"/>
                <a:gd name="T96" fmla="*/ 1774 w 3430"/>
                <a:gd name="T97" fmla="*/ 2247 h 2593"/>
                <a:gd name="T98" fmla="*/ 2151 w 3430"/>
                <a:gd name="T99" fmla="*/ 2269 h 2593"/>
                <a:gd name="T100" fmla="*/ 2224 w 3430"/>
                <a:gd name="T101" fmla="*/ 2499 h 2593"/>
                <a:gd name="T102" fmla="*/ 2289 w 3430"/>
                <a:gd name="T103" fmla="*/ 2263 h 2593"/>
                <a:gd name="T104" fmla="*/ 2224 w 3430"/>
                <a:gd name="T105" fmla="*/ 2298 h 2593"/>
                <a:gd name="T106" fmla="*/ 852 w 3430"/>
                <a:gd name="T107" fmla="*/ 2144 h 2593"/>
                <a:gd name="T108" fmla="*/ 1335 w 3430"/>
                <a:gd name="T109" fmla="*/ 2258 h 2593"/>
                <a:gd name="T110" fmla="*/ 1231 w 3430"/>
                <a:gd name="T111" fmla="*/ 2313 h 2593"/>
                <a:gd name="T112" fmla="*/ 1422 w 3430"/>
                <a:gd name="T113" fmla="*/ 2303 h 2593"/>
                <a:gd name="T114" fmla="*/ 1538 w 3430"/>
                <a:gd name="T115" fmla="*/ 2493 h 2593"/>
                <a:gd name="T116" fmla="*/ 1558 w 3430"/>
                <a:gd name="T117" fmla="*/ 2586 h 2593"/>
                <a:gd name="T118" fmla="*/ 1504 w 3430"/>
                <a:gd name="T119" fmla="*/ 2439 h 2593"/>
                <a:gd name="T120" fmla="*/ 1103 w 3430"/>
                <a:gd name="T121" fmla="*/ 2356 h 2593"/>
                <a:gd name="T122" fmla="*/ 441 w 3430"/>
                <a:gd name="T123" fmla="*/ 1068 h 2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30" h="2593">
                  <a:moveTo>
                    <a:pt x="286" y="1954"/>
                  </a:moveTo>
                  <a:lnTo>
                    <a:pt x="286" y="1954"/>
                  </a:lnTo>
                  <a:lnTo>
                    <a:pt x="286" y="1946"/>
                  </a:lnTo>
                  <a:lnTo>
                    <a:pt x="284" y="1939"/>
                  </a:lnTo>
                  <a:lnTo>
                    <a:pt x="281" y="1924"/>
                  </a:lnTo>
                  <a:lnTo>
                    <a:pt x="275" y="1912"/>
                  </a:lnTo>
                  <a:lnTo>
                    <a:pt x="267" y="1902"/>
                  </a:lnTo>
                  <a:lnTo>
                    <a:pt x="259" y="1894"/>
                  </a:lnTo>
                  <a:lnTo>
                    <a:pt x="250" y="1888"/>
                  </a:lnTo>
                  <a:lnTo>
                    <a:pt x="243" y="1883"/>
                  </a:lnTo>
                  <a:lnTo>
                    <a:pt x="235" y="1880"/>
                  </a:lnTo>
                  <a:lnTo>
                    <a:pt x="235" y="1880"/>
                  </a:lnTo>
                  <a:lnTo>
                    <a:pt x="244" y="1874"/>
                  </a:lnTo>
                  <a:lnTo>
                    <a:pt x="251" y="1868"/>
                  </a:lnTo>
                  <a:lnTo>
                    <a:pt x="257" y="1860"/>
                  </a:lnTo>
                  <a:lnTo>
                    <a:pt x="264" y="1852"/>
                  </a:lnTo>
                  <a:lnTo>
                    <a:pt x="268" y="1843"/>
                  </a:lnTo>
                  <a:lnTo>
                    <a:pt x="271" y="1833"/>
                  </a:lnTo>
                  <a:lnTo>
                    <a:pt x="273" y="1824"/>
                  </a:lnTo>
                  <a:lnTo>
                    <a:pt x="273" y="1813"/>
                  </a:lnTo>
                  <a:lnTo>
                    <a:pt x="273" y="1813"/>
                  </a:lnTo>
                  <a:lnTo>
                    <a:pt x="273" y="1803"/>
                  </a:lnTo>
                  <a:lnTo>
                    <a:pt x="272" y="1793"/>
                  </a:lnTo>
                  <a:lnTo>
                    <a:pt x="270" y="1784"/>
                  </a:lnTo>
                  <a:lnTo>
                    <a:pt x="267" y="1776"/>
                  </a:lnTo>
                  <a:lnTo>
                    <a:pt x="264" y="1767"/>
                  </a:lnTo>
                  <a:lnTo>
                    <a:pt x="259" y="1760"/>
                  </a:lnTo>
                  <a:lnTo>
                    <a:pt x="253" y="1754"/>
                  </a:lnTo>
                  <a:lnTo>
                    <a:pt x="246" y="1748"/>
                  </a:lnTo>
                  <a:lnTo>
                    <a:pt x="239" y="1743"/>
                  </a:lnTo>
                  <a:lnTo>
                    <a:pt x="232" y="1738"/>
                  </a:lnTo>
                  <a:lnTo>
                    <a:pt x="223" y="1734"/>
                  </a:lnTo>
                  <a:lnTo>
                    <a:pt x="213" y="1731"/>
                  </a:lnTo>
                  <a:lnTo>
                    <a:pt x="203" y="1728"/>
                  </a:lnTo>
                  <a:lnTo>
                    <a:pt x="192" y="1726"/>
                  </a:lnTo>
                  <a:lnTo>
                    <a:pt x="181" y="1726"/>
                  </a:lnTo>
                  <a:lnTo>
                    <a:pt x="169" y="1724"/>
                  </a:lnTo>
                  <a:lnTo>
                    <a:pt x="25" y="1724"/>
                  </a:lnTo>
                  <a:lnTo>
                    <a:pt x="25" y="2062"/>
                  </a:lnTo>
                  <a:lnTo>
                    <a:pt x="168" y="2062"/>
                  </a:lnTo>
                  <a:lnTo>
                    <a:pt x="168" y="2062"/>
                  </a:lnTo>
                  <a:lnTo>
                    <a:pt x="181" y="2062"/>
                  </a:lnTo>
                  <a:lnTo>
                    <a:pt x="194" y="2061"/>
                  </a:lnTo>
                  <a:lnTo>
                    <a:pt x="206" y="2058"/>
                  </a:lnTo>
                  <a:lnTo>
                    <a:pt x="217" y="2055"/>
                  </a:lnTo>
                  <a:lnTo>
                    <a:pt x="228" y="2051"/>
                  </a:lnTo>
                  <a:lnTo>
                    <a:pt x="238" y="2046"/>
                  </a:lnTo>
                  <a:lnTo>
                    <a:pt x="246" y="2040"/>
                  </a:lnTo>
                  <a:lnTo>
                    <a:pt x="254" y="2034"/>
                  </a:lnTo>
                  <a:lnTo>
                    <a:pt x="261" y="2027"/>
                  </a:lnTo>
                  <a:lnTo>
                    <a:pt x="267" y="2018"/>
                  </a:lnTo>
                  <a:lnTo>
                    <a:pt x="273" y="2009"/>
                  </a:lnTo>
                  <a:lnTo>
                    <a:pt x="277" y="2000"/>
                  </a:lnTo>
                  <a:lnTo>
                    <a:pt x="281" y="1990"/>
                  </a:lnTo>
                  <a:lnTo>
                    <a:pt x="283" y="1979"/>
                  </a:lnTo>
                  <a:lnTo>
                    <a:pt x="284" y="1967"/>
                  </a:lnTo>
                  <a:lnTo>
                    <a:pt x="286" y="1954"/>
                  </a:lnTo>
                  <a:lnTo>
                    <a:pt x="286" y="1954"/>
                  </a:lnTo>
                  <a:close/>
                  <a:moveTo>
                    <a:pt x="168" y="2006"/>
                  </a:moveTo>
                  <a:lnTo>
                    <a:pt x="87" y="2006"/>
                  </a:lnTo>
                  <a:lnTo>
                    <a:pt x="87" y="1909"/>
                  </a:lnTo>
                  <a:lnTo>
                    <a:pt x="168" y="1909"/>
                  </a:lnTo>
                  <a:lnTo>
                    <a:pt x="168" y="1909"/>
                  </a:lnTo>
                  <a:lnTo>
                    <a:pt x="180" y="1910"/>
                  </a:lnTo>
                  <a:lnTo>
                    <a:pt x="190" y="1912"/>
                  </a:lnTo>
                  <a:lnTo>
                    <a:pt x="199" y="1915"/>
                  </a:lnTo>
                  <a:lnTo>
                    <a:pt x="206" y="1921"/>
                  </a:lnTo>
                  <a:lnTo>
                    <a:pt x="212" y="1928"/>
                  </a:lnTo>
                  <a:lnTo>
                    <a:pt x="216" y="1936"/>
                  </a:lnTo>
                  <a:lnTo>
                    <a:pt x="218" y="1946"/>
                  </a:lnTo>
                  <a:lnTo>
                    <a:pt x="219" y="1957"/>
                  </a:lnTo>
                  <a:lnTo>
                    <a:pt x="219" y="1957"/>
                  </a:lnTo>
                  <a:lnTo>
                    <a:pt x="218" y="1968"/>
                  </a:lnTo>
                  <a:lnTo>
                    <a:pt x="216" y="1978"/>
                  </a:lnTo>
                  <a:lnTo>
                    <a:pt x="211" y="1986"/>
                  </a:lnTo>
                  <a:lnTo>
                    <a:pt x="206" y="1992"/>
                  </a:lnTo>
                  <a:lnTo>
                    <a:pt x="199" y="1998"/>
                  </a:lnTo>
                  <a:lnTo>
                    <a:pt x="190" y="2002"/>
                  </a:lnTo>
                  <a:lnTo>
                    <a:pt x="179" y="2005"/>
                  </a:lnTo>
                  <a:lnTo>
                    <a:pt x="168" y="2006"/>
                  </a:lnTo>
                  <a:lnTo>
                    <a:pt x="168" y="2006"/>
                  </a:lnTo>
                  <a:close/>
                  <a:moveTo>
                    <a:pt x="167" y="1854"/>
                  </a:moveTo>
                  <a:lnTo>
                    <a:pt x="87" y="1854"/>
                  </a:lnTo>
                  <a:lnTo>
                    <a:pt x="87" y="1782"/>
                  </a:lnTo>
                  <a:lnTo>
                    <a:pt x="164" y="1782"/>
                  </a:lnTo>
                  <a:lnTo>
                    <a:pt x="164" y="1782"/>
                  </a:lnTo>
                  <a:lnTo>
                    <a:pt x="174" y="1783"/>
                  </a:lnTo>
                  <a:lnTo>
                    <a:pt x="184" y="1784"/>
                  </a:lnTo>
                  <a:lnTo>
                    <a:pt x="191" y="1787"/>
                  </a:lnTo>
                  <a:lnTo>
                    <a:pt x="197" y="1791"/>
                  </a:lnTo>
                  <a:lnTo>
                    <a:pt x="202" y="1797"/>
                  </a:lnTo>
                  <a:lnTo>
                    <a:pt x="206" y="1803"/>
                  </a:lnTo>
                  <a:lnTo>
                    <a:pt x="207" y="1810"/>
                  </a:lnTo>
                  <a:lnTo>
                    <a:pt x="208" y="1819"/>
                  </a:lnTo>
                  <a:lnTo>
                    <a:pt x="208" y="1819"/>
                  </a:lnTo>
                  <a:lnTo>
                    <a:pt x="208" y="1825"/>
                  </a:lnTo>
                  <a:lnTo>
                    <a:pt x="207" y="1831"/>
                  </a:lnTo>
                  <a:lnTo>
                    <a:pt x="205" y="1837"/>
                  </a:lnTo>
                  <a:lnTo>
                    <a:pt x="201" y="1842"/>
                  </a:lnTo>
                  <a:lnTo>
                    <a:pt x="195" y="1847"/>
                  </a:lnTo>
                  <a:lnTo>
                    <a:pt x="188" y="1850"/>
                  </a:lnTo>
                  <a:lnTo>
                    <a:pt x="179" y="1853"/>
                  </a:lnTo>
                  <a:lnTo>
                    <a:pt x="167" y="1854"/>
                  </a:lnTo>
                  <a:lnTo>
                    <a:pt x="167" y="1854"/>
                  </a:lnTo>
                  <a:close/>
                  <a:moveTo>
                    <a:pt x="329" y="1956"/>
                  </a:moveTo>
                  <a:lnTo>
                    <a:pt x="329" y="1816"/>
                  </a:lnTo>
                  <a:lnTo>
                    <a:pt x="390" y="1816"/>
                  </a:lnTo>
                  <a:lnTo>
                    <a:pt x="390" y="1952"/>
                  </a:lnTo>
                  <a:lnTo>
                    <a:pt x="390" y="1952"/>
                  </a:lnTo>
                  <a:lnTo>
                    <a:pt x="390" y="1965"/>
                  </a:lnTo>
                  <a:lnTo>
                    <a:pt x="392" y="1979"/>
                  </a:lnTo>
                  <a:lnTo>
                    <a:pt x="396" y="1989"/>
                  </a:lnTo>
                  <a:lnTo>
                    <a:pt x="401" y="1997"/>
                  </a:lnTo>
                  <a:lnTo>
                    <a:pt x="407" y="2003"/>
                  </a:lnTo>
                  <a:lnTo>
                    <a:pt x="414" y="2008"/>
                  </a:lnTo>
                  <a:lnTo>
                    <a:pt x="424" y="2011"/>
                  </a:lnTo>
                  <a:lnTo>
                    <a:pt x="435" y="2012"/>
                  </a:lnTo>
                  <a:lnTo>
                    <a:pt x="435" y="2012"/>
                  </a:lnTo>
                  <a:lnTo>
                    <a:pt x="446" y="2011"/>
                  </a:lnTo>
                  <a:lnTo>
                    <a:pt x="455" y="2008"/>
                  </a:lnTo>
                  <a:lnTo>
                    <a:pt x="463" y="2003"/>
                  </a:lnTo>
                  <a:lnTo>
                    <a:pt x="470" y="1997"/>
                  </a:lnTo>
                  <a:lnTo>
                    <a:pt x="474" y="1989"/>
                  </a:lnTo>
                  <a:lnTo>
                    <a:pt x="478" y="1978"/>
                  </a:lnTo>
                  <a:lnTo>
                    <a:pt x="481" y="1965"/>
                  </a:lnTo>
                  <a:lnTo>
                    <a:pt x="481" y="1952"/>
                  </a:lnTo>
                  <a:lnTo>
                    <a:pt x="481" y="1816"/>
                  </a:lnTo>
                  <a:lnTo>
                    <a:pt x="542" y="1816"/>
                  </a:lnTo>
                  <a:lnTo>
                    <a:pt x="542" y="2062"/>
                  </a:lnTo>
                  <a:lnTo>
                    <a:pt x="481" y="2062"/>
                  </a:lnTo>
                  <a:lnTo>
                    <a:pt x="481" y="2043"/>
                  </a:lnTo>
                  <a:lnTo>
                    <a:pt x="481" y="2043"/>
                  </a:lnTo>
                  <a:lnTo>
                    <a:pt x="476" y="2049"/>
                  </a:lnTo>
                  <a:lnTo>
                    <a:pt x="468" y="2054"/>
                  </a:lnTo>
                  <a:lnTo>
                    <a:pt x="462" y="2058"/>
                  </a:lnTo>
                  <a:lnTo>
                    <a:pt x="455" y="2061"/>
                  </a:lnTo>
                  <a:lnTo>
                    <a:pt x="447" y="2065"/>
                  </a:lnTo>
                  <a:lnTo>
                    <a:pt x="439" y="2066"/>
                  </a:lnTo>
                  <a:lnTo>
                    <a:pt x="430" y="2067"/>
                  </a:lnTo>
                  <a:lnTo>
                    <a:pt x="422" y="2068"/>
                  </a:lnTo>
                  <a:lnTo>
                    <a:pt x="422" y="2068"/>
                  </a:lnTo>
                  <a:lnTo>
                    <a:pt x="407" y="2067"/>
                  </a:lnTo>
                  <a:lnTo>
                    <a:pt x="395" y="2065"/>
                  </a:lnTo>
                  <a:lnTo>
                    <a:pt x="384" y="2061"/>
                  </a:lnTo>
                  <a:lnTo>
                    <a:pt x="373" y="2056"/>
                  </a:lnTo>
                  <a:lnTo>
                    <a:pt x="364" y="2050"/>
                  </a:lnTo>
                  <a:lnTo>
                    <a:pt x="357" y="2044"/>
                  </a:lnTo>
                  <a:lnTo>
                    <a:pt x="351" y="2035"/>
                  </a:lnTo>
                  <a:lnTo>
                    <a:pt x="344" y="2027"/>
                  </a:lnTo>
                  <a:lnTo>
                    <a:pt x="341" y="2018"/>
                  </a:lnTo>
                  <a:lnTo>
                    <a:pt x="337" y="2009"/>
                  </a:lnTo>
                  <a:lnTo>
                    <a:pt x="332" y="1990"/>
                  </a:lnTo>
                  <a:lnTo>
                    <a:pt x="330" y="1972"/>
                  </a:lnTo>
                  <a:lnTo>
                    <a:pt x="329" y="1956"/>
                  </a:lnTo>
                  <a:lnTo>
                    <a:pt x="329" y="1956"/>
                  </a:lnTo>
                  <a:close/>
                  <a:moveTo>
                    <a:pt x="1260" y="2062"/>
                  </a:moveTo>
                  <a:lnTo>
                    <a:pt x="1199" y="2062"/>
                  </a:lnTo>
                  <a:lnTo>
                    <a:pt x="1199" y="1816"/>
                  </a:lnTo>
                  <a:lnTo>
                    <a:pt x="1260" y="1816"/>
                  </a:lnTo>
                  <a:lnTo>
                    <a:pt x="1260" y="1837"/>
                  </a:lnTo>
                  <a:lnTo>
                    <a:pt x="1260" y="1837"/>
                  </a:lnTo>
                  <a:lnTo>
                    <a:pt x="1266" y="1831"/>
                  </a:lnTo>
                  <a:lnTo>
                    <a:pt x="1272" y="1825"/>
                  </a:lnTo>
                  <a:lnTo>
                    <a:pt x="1280" y="1821"/>
                  </a:lnTo>
                  <a:lnTo>
                    <a:pt x="1287" y="1817"/>
                  </a:lnTo>
                  <a:lnTo>
                    <a:pt x="1296" y="1814"/>
                  </a:lnTo>
                  <a:lnTo>
                    <a:pt x="1303" y="1813"/>
                  </a:lnTo>
                  <a:lnTo>
                    <a:pt x="1313" y="1811"/>
                  </a:lnTo>
                  <a:lnTo>
                    <a:pt x="1321" y="1810"/>
                  </a:lnTo>
                  <a:lnTo>
                    <a:pt x="1321" y="1810"/>
                  </a:lnTo>
                  <a:lnTo>
                    <a:pt x="1333" y="1811"/>
                  </a:lnTo>
                  <a:lnTo>
                    <a:pt x="1342" y="1813"/>
                  </a:lnTo>
                  <a:lnTo>
                    <a:pt x="1352" y="1815"/>
                  </a:lnTo>
                  <a:lnTo>
                    <a:pt x="1361" y="1817"/>
                  </a:lnTo>
                  <a:lnTo>
                    <a:pt x="1369" y="1821"/>
                  </a:lnTo>
                  <a:lnTo>
                    <a:pt x="1377" y="1827"/>
                  </a:lnTo>
                  <a:lnTo>
                    <a:pt x="1383" y="1832"/>
                  </a:lnTo>
                  <a:lnTo>
                    <a:pt x="1389" y="1839"/>
                  </a:lnTo>
                  <a:lnTo>
                    <a:pt x="1395" y="1847"/>
                  </a:lnTo>
                  <a:lnTo>
                    <a:pt x="1399" y="1855"/>
                  </a:lnTo>
                  <a:lnTo>
                    <a:pt x="1404" y="1864"/>
                  </a:lnTo>
                  <a:lnTo>
                    <a:pt x="1406" y="1874"/>
                  </a:lnTo>
                  <a:lnTo>
                    <a:pt x="1409" y="1885"/>
                  </a:lnTo>
                  <a:lnTo>
                    <a:pt x="1411" y="1897"/>
                  </a:lnTo>
                  <a:lnTo>
                    <a:pt x="1412" y="1909"/>
                  </a:lnTo>
                  <a:lnTo>
                    <a:pt x="1412" y="1923"/>
                  </a:lnTo>
                  <a:lnTo>
                    <a:pt x="1412" y="2062"/>
                  </a:lnTo>
                  <a:lnTo>
                    <a:pt x="1351" y="2062"/>
                  </a:lnTo>
                  <a:lnTo>
                    <a:pt x="1351" y="1926"/>
                  </a:lnTo>
                  <a:lnTo>
                    <a:pt x="1351" y="1926"/>
                  </a:lnTo>
                  <a:lnTo>
                    <a:pt x="1351" y="1912"/>
                  </a:lnTo>
                  <a:lnTo>
                    <a:pt x="1348" y="1899"/>
                  </a:lnTo>
                  <a:lnTo>
                    <a:pt x="1345" y="1890"/>
                  </a:lnTo>
                  <a:lnTo>
                    <a:pt x="1340" y="1881"/>
                  </a:lnTo>
                  <a:lnTo>
                    <a:pt x="1334" y="1875"/>
                  </a:lnTo>
                  <a:lnTo>
                    <a:pt x="1326" y="1870"/>
                  </a:lnTo>
                  <a:lnTo>
                    <a:pt x="1318" y="1868"/>
                  </a:lnTo>
                  <a:lnTo>
                    <a:pt x="1307" y="1866"/>
                  </a:lnTo>
                  <a:lnTo>
                    <a:pt x="1307" y="1866"/>
                  </a:lnTo>
                  <a:lnTo>
                    <a:pt x="1296" y="1868"/>
                  </a:lnTo>
                  <a:lnTo>
                    <a:pt x="1286" y="1870"/>
                  </a:lnTo>
                  <a:lnTo>
                    <a:pt x="1279" y="1875"/>
                  </a:lnTo>
                  <a:lnTo>
                    <a:pt x="1272" y="1881"/>
                  </a:lnTo>
                  <a:lnTo>
                    <a:pt x="1266" y="1890"/>
                  </a:lnTo>
                  <a:lnTo>
                    <a:pt x="1263" y="1901"/>
                  </a:lnTo>
                  <a:lnTo>
                    <a:pt x="1260" y="1913"/>
                  </a:lnTo>
                  <a:lnTo>
                    <a:pt x="1260" y="1926"/>
                  </a:lnTo>
                  <a:lnTo>
                    <a:pt x="1260" y="2062"/>
                  </a:lnTo>
                  <a:close/>
                  <a:moveTo>
                    <a:pt x="658" y="1939"/>
                  </a:moveTo>
                  <a:lnTo>
                    <a:pt x="658" y="2062"/>
                  </a:lnTo>
                  <a:lnTo>
                    <a:pt x="597" y="2062"/>
                  </a:lnTo>
                  <a:lnTo>
                    <a:pt x="597" y="1816"/>
                  </a:lnTo>
                  <a:lnTo>
                    <a:pt x="658" y="1816"/>
                  </a:lnTo>
                  <a:lnTo>
                    <a:pt x="658" y="1939"/>
                  </a:lnTo>
                  <a:close/>
                  <a:moveTo>
                    <a:pt x="712" y="1744"/>
                  </a:moveTo>
                  <a:lnTo>
                    <a:pt x="774" y="1713"/>
                  </a:lnTo>
                  <a:lnTo>
                    <a:pt x="774" y="1936"/>
                  </a:lnTo>
                  <a:lnTo>
                    <a:pt x="774" y="2062"/>
                  </a:lnTo>
                  <a:lnTo>
                    <a:pt x="712" y="2062"/>
                  </a:lnTo>
                  <a:lnTo>
                    <a:pt x="712" y="1744"/>
                  </a:lnTo>
                  <a:close/>
                  <a:moveTo>
                    <a:pt x="967" y="1833"/>
                  </a:moveTo>
                  <a:lnTo>
                    <a:pt x="967" y="1833"/>
                  </a:lnTo>
                  <a:lnTo>
                    <a:pt x="962" y="1827"/>
                  </a:lnTo>
                  <a:lnTo>
                    <a:pt x="956" y="1824"/>
                  </a:lnTo>
                  <a:lnTo>
                    <a:pt x="949" y="1819"/>
                  </a:lnTo>
                  <a:lnTo>
                    <a:pt x="943" y="1816"/>
                  </a:lnTo>
                  <a:lnTo>
                    <a:pt x="935" y="1814"/>
                  </a:lnTo>
                  <a:lnTo>
                    <a:pt x="928" y="1811"/>
                  </a:lnTo>
                  <a:lnTo>
                    <a:pt x="913" y="1810"/>
                  </a:lnTo>
                  <a:lnTo>
                    <a:pt x="913" y="1810"/>
                  </a:lnTo>
                  <a:lnTo>
                    <a:pt x="902" y="1811"/>
                  </a:lnTo>
                  <a:lnTo>
                    <a:pt x="891" y="1813"/>
                  </a:lnTo>
                  <a:lnTo>
                    <a:pt x="881" y="1815"/>
                  </a:lnTo>
                  <a:lnTo>
                    <a:pt x="873" y="1819"/>
                  </a:lnTo>
                  <a:lnTo>
                    <a:pt x="864" y="1824"/>
                  </a:lnTo>
                  <a:lnTo>
                    <a:pt x="856" y="1830"/>
                  </a:lnTo>
                  <a:lnTo>
                    <a:pt x="848" y="1837"/>
                  </a:lnTo>
                  <a:lnTo>
                    <a:pt x="842" y="1844"/>
                  </a:lnTo>
                  <a:lnTo>
                    <a:pt x="836" y="1853"/>
                  </a:lnTo>
                  <a:lnTo>
                    <a:pt x="831" y="1863"/>
                  </a:lnTo>
                  <a:lnTo>
                    <a:pt x="826" y="1872"/>
                  </a:lnTo>
                  <a:lnTo>
                    <a:pt x="823" y="1883"/>
                  </a:lnTo>
                  <a:lnTo>
                    <a:pt x="820" y="1896"/>
                  </a:lnTo>
                  <a:lnTo>
                    <a:pt x="818" y="1909"/>
                  </a:lnTo>
                  <a:lnTo>
                    <a:pt x="816" y="1923"/>
                  </a:lnTo>
                  <a:lnTo>
                    <a:pt x="816" y="1936"/>
                  </a:lnTo>
                  <a:lnTo>
                    <a:pt x="816" y="1936"/>
                  </a:lnTo>
                  <a:lnTo>
                    <a:pt x="816" y="1952"/>
                  </a:lnTo>
                  <a:lnTo>
                    <a:pt x="818" y="1965"/>
                  </a:lnTo>
                  <a:lnTo>
                    <a:pt x="820" y="1979"/>
                  </a:lnTo>
                  <a:lnTo>
                    <a:pt x="823" y="1991"/>
                  </a:lnTo>
                  <a:lnTo>
                    <a:pt x="826" y="2003"/>
                  </a:lnTo>
                  <a:lnTo>
                    <a:pt x="830" y="2014"/>
                  </a:lnTo>
                  <a:lnTo>
                    <a:pt x="835" y="2024"/>
                  </a:lnTo>
                  <a:lnTo>
                    <a:pt x="841" y="2033"/>
                  </a:lnTo>
                  <a:lnTo>
                    <a:pt x="848" y="2041"/>
                  </a:lnTo>
                  <a:lnTo>
                    <a:pt x="854" y="2047"/>
                  </a:lnTo>
                  <a:lnTo>
                    <a:pt x="863" y="2054"/>
                  </a:lnTo>
                  <a:lnTo>
                    <a:pt x="872" y="2058"/>
                  </a:lnTo>
                  <a:lnTo>
                    <a:pt x="880" y="2062"/>
                  </a:lnTo>
                  <a:lnTo>
                    <a:pt x="890" y="2066"/>
                  </a:lnTo>
                  <a:lnTo>
                    <a:pt x="901" y="2067"/>
                  </a:lnTo>
                  <a:lnTo>
                    <a:pt x="912" y="2068"/>
                  </a:lnTo>
                  <a:lnTo>
                    <a:pt x="912" y="2068"/>
                  </a:lnTo>
                  <a:lnTo>
                    <a:pt x="919" y="2067"/>
                  </a:lnTo>
                  <a:lnTo>
                    <a:pt x="927" y="2066"/>
                  </a:lnTo>
                  <a:lnTo>
                    <a:pt x="934" y="2065"/>
                  </a:lnTo>
                  <a:lnTo>
                    <a:pt x="941" y="2062"/>
                  </a:lnTo>
                  <a:lnTo>
                    <a:pt x="948" y="2058"/>
                  </a:lnTo>
                  <a:lnTo>
                    <a:pt x="955" y="2055"/>
                  </a:lnTo>
                  <a:lnTo>
                    <a:pt x="961" y="2050"/>
                  </a:lnTo>
                  <a:lnTo>
                    <a:pt x="967" y="2044"/>
                  </a:lnTo>
                  <a:lnTo>
                    <a:pt x="967" y="2062"/>
                  </a:lnTo>
                  <a:lnTo>
                    <a:pt x="1029" y="2062"/>
                  </a:lnTo>
                  <a:lnTo>
                    <a:pt x="1029" y="1713"/>
                  </a:lnTo>
                  <a:lnTo>
                    <a:pt x="967" y="1744"/>
                  </a:lnTo>
                  <a:lnTo>
                    <a:pt x="967" y="1833"/>
                  </a:lnTo>
                  <a:close/>
                  <a:moveTo>
                    <a:pt x="924" y="2012"/>
                  </a:moveTo>
                  <a:lnTo>
                    <a:pt x="924" y="2012"/>
                  </a:lnTo>
                  <a:lnTo>
                    <a:pt x="917" y="2011"/>
                  </a:lnTo>
                  <a:lnTo>
                    <a:pt x="908" y="2008"/>
                  </a:lnTo>
                  <a:lnTo>
                    <a:pt x="901" y="2005"/>
                  </a:lnTo>
                  <a:lnTo>
                    <a:pt x="894" y="1997"/>
                  </a:lnTo>
                  <a:lnTo>
                    <a:pt x="888" y="1987"/>
                  </a:lnTo>
                  <a:lnTo>
                    <a:pt x="883" y="1974"/>
                  </a:lnTo>
                  <a:lnTo>
                    <a:pt x="879" y="1957"/>
                  </a:lnTo>
                  <a:lnTo>
                    <a:pt x="878" y="1935"/>
                  </a:lnTo>
                  <a:lnTo>
                    <a:pt x="878" y="1935"/>
                  </a:lnTo>
                  <a:lnTo>
                    <a:pt x="879" y="1915"/>
                  </a:lnTo>
                  <a:lnTo>
                    <a:pt x="883" y="1901"/>
                  </a:lnTo>
                  <a:lnTo>
                    <a:pt x="888" y="1888"/>
                  </a:lnTo>
                  <a:lnTo>
                    <a:pt x="894" y="1880"/>
                  </a:lnTo>
                  <a:lnTo>
                    <a:pt x="900" y="1872"/>
                  </a:lnTo>
                  <a:lnTo>
                    <a:pt x="908" y="1869"/>
                  </a:lnTo>
                  <a:lnTo>
                    <a:pt x="916" y="1866"/>
                  </a:lnTo>
                  <a:lnTo>
                    <a:pt x="924" y="1866"/>
                  </a:lnTo>
                  <a:lnTo>
                    <a:pt x="924" y="1866"/>
                  </a:lnTo>
                  <a:lnTo>
                    <a:pt x="932" y="1866"/>
                  </a:lnTo>
                  <a:lnTo>
                    <a:pt x="939" y="1869"/>
                  </a:lnTo>
                  <a:lnTo>
                    <a:pt x="946" y="1871"/>
                  </a:lnTo>
                  <a:lnTo>
                    <a:pt x="951" y="1875"/>
                  </a:lnTo>
                  <a:lnTo>
                    <a:pt x="956" y="1879"/>
                  </a:lnTo>
                  <a:lnTo>
                    <a:pt x="961" y="1882"/>
                  </a:lnTo>
                  <a:lnTo>
                    <a:pt x="967" y="1891"/>
                  </a:lnTo>
                  <a:lnTo>
                    <a:pt x="967" y="1987"/>
                  </a:lnTo>
                  <a:lnTo>
                    <a:pt x="967" y="1987"/>
                  </a:lnTo>
                  <a:lnTo>
                    <a:pt x="960" y="1996"/>
                  </a:lnTo>
                  <a:lnTo>
                    <a:pt x="951" y="2003"/>
                  </a:lnTo>
                  <a:lnTo>
                    <a:pt x="946" y="2007"/>
                  </a:lnTo>
                  <a:lnTo>
                    <a:pt x="939" y="2009"/>
                  </a:lnTo>
                  <a:lnTo>
                    <a:pt x="933" y="2011"/>
                  </a:lnTo>
                  <a:lnTo>
                    <a:pt x="924" y="2012"/>
                  </a:lnTo>
                  <a:lnTo>
                    <a:pt x="924" y="2012"/>
                  </a:lnTo>
                  <a:close/>
                  <a:moveTo>
                    <a:pt x="2299" y="1810"/>
                  </a:moveTo>
                  <a:lnTo>
                    <a:pt x="2299" y="1810"/>
                  </a:lnTo>
                  <a:lnTo>
                    <a:pt x="2292" y="1811"/>
                  </a:lnTo>
                  <a:lnTo>
                    <a:pt x="2285" y="1813"/>
                  </a:lnTo>
                  <a:lnTo>
                    <a:pt x="2270" y="1816"/>
                  </a:lnTo>
                  <a:lnTo>
                    <a:pt x="2257" y="1824"/>
                  </a:lnTo>
                  <a:lnTo>
                    <a:pt x="2245" y="1833"/>
                  </a:lnTo>
                  <a:lnTo>
                    <a:pt x="2245" y="1720"/>
                  </a:lnTo>
                  <a:lnTo>
                    <a:pt x="2183" y="1750"/>
                  </a:lnTo>
                  <a:lnTo>
                    <a:pt x="2183" y="2062"/>
                  </a:lnTo>
                  <a:lnTo>
                    <a:pt x="2245" y="2062"/>
                  </a:lnTo>
                  <a:lnTo>
                    <a:pt x="2245" y="2044"/>
                  </a:lnTo>
                  <a:lnTo>
                    <a:pt x="2245" y="2044"/>
                  </a:lnTo>
                  <a:lnTo>
                    <a:pt x="2249" y="2050"/>
                  </a:lnTo>
                  <a:lnTo>
                    <a:pt x="2257" y="2055"/>
                  </a:lnTo>
                  <a:lnTo>
                    <a:pt x="2263" y="2058"/>
                  </a:lnTo>
                  <a:lnTo>
                    <a:pt x="2270" y="2062"/>
                  </a:lnTo>
                  <a:lnTo>
                    <a:pt x="2276" y="2065"/>
                  </a:lnTo>
                  <a:lnTo>
                    <a:pt x="2285" y="2066"/>
                  </a:lnTo>
                  <a:lnTo>
                    <a:pt x="2292" y="2067"/>
                  </a:lnTo>
                  <a:lnTo>
                    <a:pt x="2300" y="2068"/>
                  </a:lnTo>
                  <a:lnTo>
                    <a:pt x="2300" y="2068"/>
                  </a:lnTo>
                  <a:lnTo>
                    <a:pt x="2311" y="2067"/>
                  </a:lnTo>
                  <a:lnTo>
                    <a:pt x="2322" y="2066"/>
                  </a:lnTo>
                  <a:lnTo>
                    <a:pt x="2332" y="2063"/>
                  </a:lnTo>
                  <a:lnTo>
                    <a:pt x="2341" y="2058"/>
                  </a:lnTo>
                  <a:lnTo>
                    <a:pt x="2350" y="2054"/>
                  </a:lnTo>
                  <a:lnTo>
                    <a:pt x="2357" y="2049"/>
                  </a:lnTo>
                  <a:lnTo>
                    <a:pt x="2365" y="2041"/>
                  </a:lnTo>
                  <a:lnTo>
                    <a:pt x="2371" y="2034"/>
                  </a:lnTo>
                  <a:lnTo>
                    <a:pt x="2377" y="2024"/>
                  </a:lnTo>
                  <a:lnTo>
                    <a:pt x="2382" y="2014"/>
                  </a:lnTo>
                  <a:lnTo>
                    <a:pt x="2386" y="2003"/>
                  </a:lnTo>
                  <a:lnTo>
                    <a:pt x="2389" y="1992"/>
                  </a:lnTo>
                  <a:lnTo>
                    <a:pt x="2393" y="1980"/>
                  </a:lnTo>
                  <a:lnTo>
                    <a:pt x="2394" y="1967"/>
                  </a:lnTo>
                  <a:lnTo>
                    <a:pt x="2395" y="1952"/>
                  </a:lnTo>
                  <a:lnTo>
                    <a:pt x="2397" y="1936"/>
                  </a:lnTo>
                  <a:lnTo>
                    <a:pt x="2397" y="1936"/>
                  </a:lnTo>
                  <a:lnTo>
                    <a:pt x="2395" y="1923"/>
                  </a:lnTo>
                  <a:lnTo>
                    <a:pt x="2394" y="1909"/>
                  </a:lnTo>
                  <a:lnTo>
                    <a:pt x="2392" y="1896"/>
                  </a:lnTo>
                  <a:lnTo>
                    <a:pt x="2389" y="1883"/>
                  </a:lnTo>
                  <a:lnTo>
                    <a:pt x="2386" y="1872"/>
                  </a:lnTo>
                  <a:lnTo>
                    <a:pt x="2381" y="1863"/>
                  </a:lnTo>
                  <a:lnTo>
                    <a:pt x="2376" y="1853"/>
                  </a:lnTo>
                  <a:lnTo>
                    <a:pt x="2370" y="1844"/>
                  </a:lnTo>
                  <a:lnTo>
                    <a:pt x="2363" y="1837"/>
                  </a:lnTo>
                  <a:lnTo>
                    <a:pt x="2356" y="1830"/>
                  </a:lnTo>
                  <a:lnTo>
                    <a:pt x="2348" y="1824"/>
                  </a:lnTo>
                  <a:lnTo>
                    <a:pt x="2339" y="1819"/>
                  </a:lnTo>
                  <a:lnTo>
                    <a:pt x="2330" y="1815"/>
                  </a:lnTo>
                  <a:lnTo>
                    <a:pt x="2321" y="1813"/>
                  </a:lnTo>
                  <a:lnTo>
                    <a:pt x="2310" y="1811"/>
                  </a:lnTo>
                  <a:lnTo>
                    <a:pt x="2299" y="1810"/>
                  </a:lnTo>
                  <a:lnTo>
                    <a:pt x="2299" y="1810"/>
                  </a:lnTo>
                  <a:close/>
                  <a:moveTo>
                    <a:pt x="2287" y="1866"/>
                  </a:moveTo>
                  <a:lnTo>
                    <a:pt x="2287" y="1866"/>
                  </a:lnTo>
                  <a:lnTo>
                    <a:pt x="2296" y="1868"/>
                  </a:lnTo>
                  <a:lnTo>
                    <a:pt x="2305" y="1870"/>
                  </a:lnTo>
                  <a:lnTo>
                    <a:pt x="2312" y="1875"/>
                  </a:lnTo>
                  <a:lnTo>
                    <a:pt x="2319" y="1882"/>
                  </a:lnTo>
                  <a:lnTo>
                    <a:pt x="2325" y="1891"/>
                  </a:lnTo>
                  <a:lnTo>
                    <a:pt x="2329" y="1903"/>
                  </a:lnTo>
                  <a:lnTo>
                    <a:pt x="2333" y="1918"/>
                  </a:lnTo>
                  <a:lnTo>
                    <a:pt x="2334" y="1935"/>
                  </a:lnTo>
                  <a:lnTo>
                    <a:pt x="2334" y="1935"/>
                  </a:lnTo>
                  <a:lnTo>
                    <a:pt x="2333" y="1953"/>
                  </a:lnTo>
                  <a:lnTo>
                    <a:pt x="2330" y="1969"/>
                  </a:lnTo>
                  <a:lnTo>
                    <a:pt x="2328" y="1981"/>
                  </a:lnTo>
                  <a:lnTo>
                    <a:pt x="2323" y="1992"/>
                  </a:lnTo>
                  <a:lnTo>
                    <a:pt x="2316" y="2001"/>
                  </a:lnTo>
                  <a:lnTo>
                    <a:pt x="2308" y="2007"/>
                  </a:lnTo>
                  <a:lnTo>
                    <a:pt x="2300" y="2011"/>
                  </a:lnTo>
                  <a:lnTo>
                    <a:pt x="2289" y="2012"/>
                  </a:lnTo>
                  <a:lnTo>
                    <a:pt x="2289" y="2012"/>
                  </a:lnTo>
                  <a:lnTo>
                    <a:pt x="2280" y="2011"/>
                  </a:lnTo>
                  <a:lnTo>
                    <a:pt x="2273" y="2009"/>
                  </a:lnTo>
                  <a:lnTo>
                    <a:pt x="2267" y="2006"/>
                  </a:lnTo>
                  <a:lnTo>
                    <a:pt x="2261" y="2003"/>
                  </a:lnTo>
                  <a:lnTo>
                    <a:pt x="2251" y="1995"/>
                  </a:lnTo>
                  <a:lnTo>
                    <a:pt x="2245" y="1989"/>
                  </a:lnTo>
                  <a:lnTo>
                    <a:pt x="2245" y="1891"/>
                  </a:lnTo>
                  <a:lnTo>
                    <a:pt x="2245" y="1891"/>
                  </a:lnTo>
                  <a:lnTo>
                    <a:pt x="2248" y="1886"/>
                  </a:lnTo>
                  <a:lnTo>
                    <a:pt x="2253" y="1881"/>
                  </a:lnTo>
                  <a:lnTo>
                    <a:pt x="2258" y="1876"/>
                  </a:lnTo>
                  <a:lnTo>
                    <a:pt x="2263" y="1872"/>
                  </a:lnTo>
                  <a:lnTo>
                    <a:pt x="2269" y="1870"/>
                  </a:lnTo>
                  <a:lnTo>
                    <a:pt x="2275" y="1868"/>
                  </a:lnTo>
                  <a:lnTo>
                    <a:pt x="2281" y="1866"/>
                  </a:lnTo>
                  <a:lnTo>
                    <a:pt x="2287" y="1866"/>
                  </a:lnTo>
                  <a:lnTo>
                    <a:pt x="2287" y="1866"/>
                  </a:lnTo>
                  <a:close/>
                  <a:moveTo>
                    <a:pt x="1605" y="1833"/>
                  </a:moveTo>
                  <a:lnTo>
                    <a:pt x="1605" y="1833"/>
                  </a:lnTo>
                  <a:lnTo>
                    <a:pt x="1600" y="1828"/>
                  </a:lnTo>
                  <a:lnTo>
                    <a:pt x="1594" y="1824"/>
                  </a:lnTo>
                  <a:lnTo>
                    <a:pt x="1586" y="1820"/>
                  </a:lnTo>
                  <a:lnTo>
                    <a:pt x="1580" y="1816"/>
                  </a:lnTo>
                  <a:lnTo>
                    <a:pt x="1573" y="1814"/>
                  </a:lnTo>
                  <a:lnTo>
                    <a:pt x="1565" y="1811"/>
                  </a:lnTo>
                  <a:lnTo>
                    <a:pt x="1558" y="1811"/>
                  </a:lnTo>
                  <a:lnTo>
                    <a:pt x="1551" y="1810"/>
                  </a:lnTo>
                  <a:lnTo>
                    <a:pt x="1551" y="1810"/>
                  </a:lnTo>
                  <a:lnTo>
                    <a:pt x="1540" y="1811"/>
                  </a:lnTo>
                  <a:lnTo>
                    <a:pt x="1529" y="1813"/>
                  </a:lnTo>
                  <a:lnTo>
                    <a:pt x="1519" y="1815"/>
                  </a:lnTo>
                  <a:lnTo>
                    <a:pt x="1510" y="1819"/>
                  </a:lnTo>
                  <a:lnTo>
                    <a:pt x="1502" y="1824"/>
                  </a:lnTo>
                  <a:lnTo>
                    <a:pt x="1493" y="1830"/>
                  </a:lnTo>
                  <a:lnTo>
                    <a:pt x="1486" y="1837"/>
                  </a:lnTo>
                  <a:lnTo>
                    <a:pt x="1480" y="1844"/>
                  </a:lnTo>
                  <a:lnTo>
                    <a:pt x="1474" y="1853"/>
                  </a:lnTo>
                  <a:lnTo>
                    <a:pt x="1469" y="1863"/>
                  </a:lnTo>
                  <a:lnTo>
                    <a:pt x="1464" y="1872"/>
                  </a:lnTo>
                  <a:lnTo>
                    <a:pt x="1460" y="1883"/>
                  </a:lnTo>
                  <a:lnTo>
                    <a:pt x="1458" y="1896"/>
                  </a:lnTo>
                  <a:lnTo>
                    <a:pt x="1455" y="1909"/>
                  </a:lnTo>
                  <a:lnTo>
                    <a:pt x="1454" y="1923"/>
                  </a:lnTo>
                  <a:lnTo>
                    <a:pt x="1454" y="1936"/>
                  </a:lnTo>
                  <a:lnTo>
                    <a:pt x="1454" y="1936"/>
                  </a:lnTo>
                  <a:lnTo>
                    <a:pt x="1454" y="1952"/>
                  </a:lnTo>
                  <a:lnTo>
                    <a:pt x="1455" y="1965"/>
                  </a:lnTo>
                  <a:lnTo>
                    <a:pt x="1458" y="1979"/>
                  </a:lnTo>
                  <a:lnTo>
                    <a:pt x="1460" y="1991"/>
                  </a:lnTo>
                  <a:lnTo>
                    <a:pt x="1464" y="2003"/>
                  </a:lnTo>
                  <a:lnTo>
                    <a:pt x="1467" y="2014"/>
                  </a:lnTo>
                  <a:lnTo>
                    <a:pt x="1474" y="2024"/>
                  </a:lnTo>
                  <a:lnTo>
                    <a:pt x="1478" y="2033"/>
                  </a:lnTo>
                  <a:lnTo>
                    <a:pt x="1486" y="2041"/>
                  </a:lnTo>
                  <a:lnTo>
                    <a:pt x="1492" y="2047"/>
                  </a:lnTo>
                  <a:lnTo>
                    <a:pt x="1500" y="2054"/>
                  </a:lnTo>
                  <a:lnTo>
                    <a:pt x="1509" y="2058"/>
                  </a:lnTo>
                  <a:lnTo>
                    <a:pt x="1518" y="2062"/>
                  </a:lnTo>
                  <a:lnTo>
                    <a:pt x="1527" y="2066"/>
                  </a:lnTo>
                  <a:lnTo>
                    <a:pt x="1538" y="2067"/>
                  </a:lnTo>
                  <a:lnTo>
                    <a:pt x="1550" y="2067"/>
                  </a:lnTo>
                  <a:lnTo>
                    <a:pt x="1550" y="2067"/>
                  </a:lnTo>
                  <a:lnTo>
                    <a:pt x="1557" y="2067"/>
                  </a:lnTo>
                  <a:lnTo>
                    <a:pt x="1564" y="2066"/>
                  </a:lnTo>
                  <a:lnTo>
                    <a:pt x="1572" y="2065"/>
                  </a:lnTo>
                  <a:lnTo>
                    <a:pt x="1579" y="2062"/>
                  </a:lnTo>
                  <a:lnTo>
                    <a:pt x="1586" y="2058"/>
                  </a:lnTo>
                  <a:lnTo>
                    <a:pt x="1592" y="2054"/>
                  </a:lnTo>
                  <a:lnTo>
                    <a:pt x="1599" y="2050"/>
                  </a:lnTo>
                  <a:lnTo>
                    <a:pt x="1605" y="2044"/>
                  </a:lnTo>
                  <a:lnTo>
                    <a:pt x="1605" y="2050"/>
                  </a:lnTo>
                  <a:lnTo>
                    <a:pt x="1605" y="2050"/>
                  </a:lnTo>
                  <a:lnTo>
                    <a:pt x="1605" y="2060"/>
                  </a:lnTo>
                  <a:lnTo>
                    <a:pt x="1603" y="2071"/>
                  </a:lnTo>
                  <a:lnTo>
                    <a:pt x="1601" y="2082"/>
                  </a:lnTo>
                  <a:lnTo>
                    <a:pt x="1599" y="2087"/>
                  </a:lnTo>
                  <a:lnTo>
                    <a:pt x="1595" y="2091"/>
                  </a:lnTo>
                  <a:lnTo>
                    <a:pt x="1591" y="2096"/>
                  </a:lnTo>
                  <a:lnTo>
                    <a:pt x="1586" y="2101"/>
                  </a:lnTo>
                  <a:lnTo>
                    <a:pt x="1579" y="2105"/>
                  </a:lnTo>
                  <a:lnTo>
                    <a:pt x="1572" y="2107"/>
                  </a:lnTo>
                  <a:lnTo>
                    <a:pt x="1563" y="2111"/>
                  </a:lnTo>
                  <a:lnTo>
                    <a:pt x="1552" y="2112"/>
                  </a:lnTo>
                  <a:lnTo>
                    <a:pt x="1540" y="2115"/>
                  </a:lnTo>
                  <a:lnTo>
                    <a:pt x="1526" y="2115"/>
                  </a:lnTo>
                  <a:lnTo>
                    <a:pt x="1524" y="2115"/>
                  </a:lnTo>
                  <a:lnTo>
                    <a:pt x="1545" y="2162"/>
                  </a:lnTo>
                  <a:lnTo>
                    <a:pt x="1546" y="2162"/>
                  </a:lnTo>
                  <a:lnTo>
                    <a:pt x="1546" y="2162"/>
                  </a:lnTo>
                  <a:lnTo>
                    <a:pt x="1561" y="2162"/>
                  </a:lnTo>
                  <a:lnTo>
                    <a:pt x="1574" y="2160"/>
                  </a:lnTo>
                  <a:lnTo>
                    <a:pt x="1588" y="2158"/>
                  </a:lnTo>
                  <a:lnTo>
                    <a:pt x="1599" y="2154"/>
                  </a:lnTo>
                  <a:lnTo>
                    <a:pt x="1610" y="2150"/>
                  </a:lnTo>
                  <a:lnTo>
                    <a:pt x="1619" y="2145"/>
                  </a:lnTo>
                  <a:lnTo>
                    <a:pt x="1628" y="2138"/>
                  </a:lnTo>
                  <a:lnTo>
                    <a:pt x="1637" y="2132"/>
                  </a:lnTo>
                  <a:lnTo>
                    <a:pt x="1644" y="2123"/>
                  </a:lnTo>
                  <a:lnTo>
                    <a:pt x="1649" y="2113"/>
                  </a:lnTo>
                  <a:lnTo>
                    <a:pt x="1655" y="2104"/>
                  </a:lnTo>
                  <a:lnTo>
                    <a:pt x="1659" y="2093"/>
                  </a:lnTo>
                  <a:lnTo>
                    <a:pt x="1662" y="2080"/>
                  </a:lnTo>
                  <a:lnTo>
                    <a:pt x="1665" y="2068"/>
                  </a:lnTo>
                  <a:lnTo>
                    <a:pt x="1666" y="2055"/>
                  </a:lnTo>
                  <a:lnTo>
                    <a:pt x="1666" y="2039"/>
                  </a:lnTo>
                  <a:lnTo>
                    <a:pt x="1666" y="1816"/>
                  </a:lnTo>
                  <a:lnTo>
                    <a:pt x="1605" y="1816"/>
                  </a:lnTo>
                  <a:lnTo>
                    <a:pt x="1605" y="1833"/>
                  </a:lnTo>
                  <a:close/>
                  <a:moveTo>
                    <a:pt x="1605" y="1891"/>
                  </a:moveTo>
                  <a:lnTo>
                    <a:pt x="1605" y="1987"/>
                  </a:lnTo>
                  <a:lnTo>
                    <a:pt x="1605" y="1987"/>
                  </a:lnTo>
                  <a:lnTo>
                    <a:pt x="1597" y="1996"/>
                  </a:lnTo>
                  <a:lnTo>
                    <a:pt x="1588" y="2005"/>
                  </a:lnTo>
                  <a:lnTo>
                    <a:pt x="1583" y="2007"/>
                  </a:lnTo>
                  <a:lnTo>
                    <a:pt x="1576" y="2009"/>
                  </a:lnTo>
                  <a:lnTo>
                    <a:pt x="1569" y="2011"/>
                  </a:lnTo>
                  <a:lnTo>
                    <a:pt x="1562" y="2012"/>
                  </a:lnTo>
                  <a:lnTo>
                    <a:pt x="1562" y="2012"/>
                  </a:lnTo>
                  <a:lnTo>
                    <a:pt x="1553" y="2011"/>
                  </a:lnTo>
                  <a:lnTo>
                    <a:pt x="1546" y="2008"/>
                  </a:lnTo>
                  <a:lnTo>
                    <a:pt x="1537" y="2003"/>
                  </a:lnTo>
                  <a:lnTo>
                    <a:pt x="1531" y="1997"/>
                  </a:lnTo>
                  <a:lnTo>
                    <a:pt x="1525" y="1987"/>
                  </a:lnTo>
                  <a:lnTo>
                    <a:pt x="1520" y="1974"/>
                  </a:lnTo>
                  <a:lnTo>
                    <a:pt x="1516" y="1957"/>
                  </a:lnTo>
                  <a:lnTo>
                    <a:pt x="1515" y="1935"/>
                  </a:lnTo>
                  <a:lnTo>
                    <a:pt x="1515" y="1935"/>
                  </a:lnTo>
                  <a:lnTo>
                    <a:pt x="1516" y="1915"/>
                  </a:lnTo>
                  <a:lnTo>
                    <a:pt x="1520" y="1901"/>
                  </a:lnTo>
                  <a:lnTo>
                    <a:pt x="1525" y="1888"/>
                  </a:lnTo>
                  <a:lnTo>
                    <a:pt x="1531" y="1880"/>
                  </a:lnTo>
                  <a:lnTo>
                    <a:pt x="1537" y="1872"/>
                  </a:lnTo>
                  <a:lnTo>
                    <a:pt x="1546" y="1869"/>
                  </a:lnTo>
                  <a:lnTo>
                    <a:pt x="1553" y="1866"/>
                  </a:lnTo>
                  <a:lnTo>
                    <a:pt x="1562" y="1866"/>
                  </a:lnTo>
                  <a:lnTo>
                    <a:pt x="1562" y="1866"/>
                  </a:lnTo>
                  <a:lnTo>
                    <a:pt x="1569" y="1866"/>
                  </a:lnTo>
                  <a:lnTo>
                    <a:pt x="1576" y="1869"/>
                  </a:lnTo>
                  <a:lnTo>
                    <a:pt x="1584" y="1871"/>
                  </a:lnTo>
                  <a:lnTo>
                    <a:pt x="1589" y="1874"/>
                  </a:lnTo>
                  <a:lnTo>
                    <a:pt x="1594" y="1879"/>
                  </a:lnTo>
                  <a:lnTo>
                    <a:pt x="1599" y="1882"/>
                  </a:lnTo>
                  <a:lnTo>
                    <a:pt x="1605" y="1891"/>
                  </a:lnTo>
                  <a:lnTo>
                    <a:pt x="1605" y="1891"/>
                  </a:lnTo>
                  <a:close/>
                  <a:moveTo>
                    <a:pt x="1856" y="1876"/>
                  </a:moveTo>
                  <a:lnTo>
                    <a:pt x="1856" y="1876"/>
                  </a:lnTo>
                  <a:lnTo>
                    <a:pt x="1871" y="1869"/>
                  </a:lnTo>
                  <a:lnTo>
                    <a:pt x="1885" y="1864"/>
                  </a:lnTo>
                  <a:lnTo>
                    <a:pt x="1901" y="1860"/>
                  </a:lnTo>
                  <a:lnTo>
                    <a:pt x="1918" y="1859"/>
                  </a:lnTo>
                  <a:lnTo>
                    <a:pt x="1918" y="1859"/>
                  </a:lnTo>
                  <a:lnTo>
                    <a:pt x="1930" y="1860"/>
                  </a:lnTo>
                  <a:lnTo>
                    <a:pt x="1938" y="1861"/>
                  </a:lnTo>
                  <a:lnTo>
                    <a:pt x="1945" y="1864"/>
                  </a:lnTo>
                  <a:lnTo>
                    <a:pt x="1952" y="1869"/>
                  </a:lnTo>
                  <a:lnTo>
                    <a:pt x="1956" y="1874"/>
                  </a:lnTo>
                  <a:lnTo>
                    <a:pt x="1960" y="1880"/>
                  </a:lnTo>
                  <a:lnTo>
                    <a:pt x="1963" y="1886"/>
                  </a:lnTo>
                  <a:lnTo>
                    <a:pt x="1963" y="1894"/>
                  </a:lnTo>
                  <a:lnTo>
                    <a:pt x="1963" y="1912"/>
                  </a:lnTo>
                  <a:lnTo>
                    <a:pt x="1963" y="1912"/>
                  </a:lnTo>
                  <a:lnTo>
                    <a:pt x="1952" y="1907"/>
                  </a:lnTo>
                  <a:lnTo>
                    <a:pt x="1938" y="1903"/>
                  </a:lnTo>
                  <a:lnTo>
                    <a:pt x="1925" y="1901"/>
                  </a:lnTo>
                  <a:lnTo>
                    <a:pt x="1910" y="1899"/>
                  </a:lnTo>
                  <a:lnTo>
                    <a:pt x="1910" y="1899"/>
                  </a:lnTo>
                  <a:lnTo>
                    <a:pt x="1893" y="1901"/>
                  </a:lnTo>
                  <a:lnTo>
                    <a:pt x="1876" y="1904"/>
                  </a:lnTo>
                  <a:lnTo>
                    <a:pt x="1860" y="1909"/>
                  </a:lnTo>
                  <a:lnTo>
                    <a:pt x="1851" y="1913"/>
                  </a:lnTo>
                  <a:lnTo>
                    <a:pt x="1844" y="1918"/>
                  </a:lnTo>
                  <a:lnTo>
                    <a:pt x="1838" y="1923"/>
                  </a:lnTo>
                  <a:lnTo>
                    <a:pt x="1831" y="1929"/>
                  </a:lnTo>
                  <a:lnTo>
                    <a:pt x="1825" y="1935"/>
                  </a:lnTo>
                  <a:lnTo>
                    <a:pt x="1820" y="1942"/>
                  </a:lnTo>
                  <a:lnTo>
                    <a:pt x="1817" y="1951"/>
                  </a:lnTo>
                  <a:lnTo>
                    <a:pt x="1814" y="1961"/>
                  </a:lnTo>
                  <a:lnTo>
                    <a:pt x="1813" y="1970"/>
                  </a:lnTo>
                  <a:lnTo>
                    <a:pt x="1812" y="1980"/>
                  </a:lnTo>
                  <a:lnTo>
                    <a:pt x="1812" y="1980"/>
                  </a:lnTo>
                  <a:lnTo>
                    <a:pt x="1813" y="1992"/>
                  </a:lnTo>
                  <a:lnTo>
                    <a:pt x="1814" y="2003"/>
                  </a:lnTo>
                  <a:lnTo>
                    <a:pt x="1817" y="2012"/>
                  </a:lnTo>
                  <a:lnTo>
                    <a:pt x="1820" y="2022"/>
                  </a:lnTo>
                  <a:lnTo>
                    <a:pt x="1824" y="2029"/>
                  </a:lnTo>
                  <a:lnTo>
                    <a:pt x="1830" y="2036"/>
                  </a:lnTo>
                  <a:lnTo>
                    <a:pt x="1835" y="2043"/>
                  </a:lnTo>
                  <a:lnTo>
                    <a:pt x="1842" y="2049"/>
                  </a:lnTo>
                  <a:lnTo>
                    <a:pt x="1849" y="2054"/>
                  </a:lnTo>
                  <a:lnTo>
                    <a:pt x="1856" y="2057"/>
                  </a:lnTo>
                  <a:lnTo>
                    <a:pt x="1872" y="2063"/>
                  </a:lnTo>
                  <a:lnTo>
                    <a:pt x="1888" y="2067"/>
                  </a:lnTo>
                  <a:lnTo>
                    <a:pt x="1904" y="2068"/>
                  </a:lnTo>
                  <a:lnTo>
                    <a:pt x="1904" y="2068"/>
                  </a:lnTo>
                  <a:lnTo>
                    <a:pt x="1917" y="2066"/>
                  </a:lnTo>
                  <a:lnTo>
                    <a:pt x="1926" y="2065"/>
                  </a:lnTo>
                  <a:lnTo>
                    <a:pt x="1933" y="2062"/>
                  </a:lnTo>
                  <a:lnTo>
                    <a:pt x="1942" y="2058"/>
                  </a:lnTo>
                  <a:lnTo>
                    <a:pt x="1949" y="2054"/>
                  </a:lnTo>
                  <a:lnTo>
                    <a:pt x="1956" y="2049"/>
                  </a:lnTo>
                  <a:lnTo>
                    <a:pt x="1963" y="2043"/>
                  </a:lnTo>
                  <a:lnTo>
                    <a:pt x="1963" y="2062"/>
                  </a:lnTo>
                  <a:lnTo>
                    <a:pt x="2024" y="2062"/>
                  </a:lnTo>
                  <a:lnTo>
                    <a:pt x="2024" y="1896"/>
                  </a:lnTo>
                  <a:lnTo>
                    <a:pt x="2024" y="1896"/>
                  </a:lnTo>
                  <a:lnTo>
                    <a:pt x="2024" y="1886"/>
                  </a:lnTo>
                  <a:lnTo>
                    <a:pt x="2023" y="1877"/>
                  </a:lnTo>
                  <a:lnTo>
                    <a:pt x="2020" y="1869"/>
                  </a:lnTo>
                  <a:lnTo>
                    <a:pt x="2018" y="1860"/>
                  </a:lnTo>
                  <a:lnTo>
                    <a:pt x="2013" y="1853"/>
                  </a:lnTo>
                  <a:lnTo>
                    <a:pt x="2009" y="1846"/>
                  </a:lnTo>
                  <a:lnTo>
                    <a:pt x="2003" y="1839"/>
                  </a:lnTo>
                  <a:lnTo>
                    <a:pt x="1997" y="1833"/>
                  </a:lnTo>
                  <a:lnTo>
                    <a:pt x="1991" y="1828"/>
                  </a:lnTo>
                  <a:lnTo>
                    <a:pt x="1983" y="1824"/>
                  </a:lnTo>
                  <a:lnTo>
                    <a:pt x="1975" y="1820"/>
                  </a:lnTo>
                  <a:lnTo>
                    <a:pt x="1966" y="1816"/>
                  </a:lnTo>
                  <a:lnTo>
                    <a:pt x="1956" y="1814"/>
                  </a:lnTo>
                  <a:lnTo>
                    <a:pt x="1947" y="1813"/>
                  </a:lnTo>
                  <a:lnTo>
                    <a:pt x="1936" y="1811"/>
                  </a:lnTo>
                  <a:lnTo>
                    <a:pt x="1925" y="1810"/>
                  </a:lnTo>
                  <a:lnTo>
                    <a:pt x="1925" y="1810"/>
                  </a:lnTo>
                  <a:lnTo>
                    <a:pt x="1911" y="1811"/>
                  </a:lnTo>
                  <a:lnTo>
                    <a:pt x="1900" y="1811"/>
                  </a:lnTo>
                  <a:lnTo>
                    <a:pt x="1888" y="1814"/>
                  </a:lnTo>
                  <a:lnTo>
                    <a:pt x="1876" y="1816"/>
                  </a:lnTo>
                  <a:lnTo>
                    <a:pt x="1865" y="1820"/>
                  </a:lnTo>
                  <a:lnTo>
                    <a:pt x="1854" y="1824"/>
                  </a:lnTo>
                  <a:lnTo>
                    <a:pt x="1842" y="1828"/>
                  </a:lnTo>
                  <a:lnTo>
                    <a:pt x="1831" y="1835"/>
                  </a:lnTo>
                  <a:lnTo>
                    <a:pt x="1856" y="1876"/>
                  </a:lnTo>
                  <a:close/>
                  <a:moveTo>
                    <a:pt x="1873" y="1980"/>
                  </a:moveTo>
                  <a:lnTo>
                    <a:pt x="1873" y="1980"/>
                  </a:lnTo>
                  <a:lnTo>
                    <a:pt x="1873" y="1973"/>
                  </a:lnTo>
                  <a:lnTo>
                    <a:pt x="1876" y="1965"/>
                  </a:lnTo>
                  <a:lnTo>
                    <a:pt x="1879" y="1959"/>
                  </a:lnTo>
                  <a:lnTo>
                    <a:pt x="1884" y="1954"/>
                  </a:lnTo>
                  <a:lnTo>
                    <a:pt x="1890" y="1951"/>
                  </a:lnTo>
                  <a:lnTo>
                    <a:pt x="1898" y="1948"/>
                  </a:lnTo>
                  <a:lnTo>
                    <a:pt x="1906" y="1946"/>
                  </a:lnTo>
                  <a:lnTo>
                    <a:pt x="1915" y="1946"/>
                  </a:lnTo>
                  <a:lnTo>
                    <a:pt x="1915" y="1946"/>
                  </a:lnTo>
                  <a:lnTo>
                    <a:pt x="1928" y="1946"/>
                  </a:lnTo>
                  <a:lnTo>
                    <a:pt x="1941" y="1948"/>
                  </a:lnTo>
                  <a:lnTo>
                    <a:pt x="1952" y="1952"/>
                  </a:lnTo>
                  <a:lnTo>
                    <a:pt x="1963" y="1958"/>
                  </a:lnTo>
                  <a:lnTo>
                    <a:pt x="1963" y="1991"/>
                  </a:lnTo>
                  <a:lnTo>
                    <a:pt x="1963" y="1991"/>
                  </a:lnTo>
                  <a:lnTo>
                    <a:pt x="1960" y="1996"/>
                  </a:lnTo>
                  <a:lnTo>
                    <a:pt x="1955" y="2001"/>
                  </a:lnTo>
                  <a:lnTo>
                    <a:pt x="1950" y="2006"/>
                  </a:lnTo>
                  <a:lnTo>
                    <a:pt x="1944" y="2009"/>
                  </a:lnTo>
                  <a:lnTo>
                    <a:pt x="1938" y="2013"/>
                  </a:lnTo>
                  <a:lnTo>
                    <a:pt x="1931" y="2016"/>
                  </a:lnTo>
                  <a:lnTo>
                    <a:pt x="1923" y="2017"/>
                  </a:lnTo>
                  <a:lnTo>
                    <a:pt x="1915" y="2018"/>
                  </a:lnTo>
                  <a:lnTo>
                    <a:pt x="1915" y="2018"/>
                  </a:lnTo>
                  <a:lnTo>
                    <a:pt x="1906" y="2017"/>
                  </a:lnTo>
                  <a:lnTo>
                    <a:pt x="1898" y="2014"/>
                  </a:lnTo>
                  <a:lnTo>
                    <a:pt x="1890" y="2012"/>
                  </a:lnTo>
                  <a:lnTo>
                    <a:pt x="1884" y="2007"/>
                  </a:lnTo>
                  <a:lnTo>
                    <a:pt x="1879" y="2002"/>
                  </a:lnTo>
                  <a:lnTo>
                    <a:pt x="1876" y="1996"/>
                  </a:lnTo>
                  <a:lnTo>
                    <a:pt x="1874" y="1989"/>
                  </a:lnTo>
                  <a:lnTo>
                    <a:pt x="1873" y="1980"/>
                  </a:lnTo>
                  <a:lnTo>
                    <a:pt x="1873" y="1980"/>
                  </a:lnTo>
                  <a:close/>
                  <a:moveTo>
                    <a:pt x="2592" y="1991"/>
                  </a:moveTo>
                  <a:lnTo>
                    <a:pt x="2592" y="1991"/>
                  </a:lnTo>
                  <a:lnTo>
                    <a:pt x="2583" y="1998"/>
                  </a:lnTo>
                  <a:lnTo>
                    <a:pt x="2572" y="2005"/>
                  </a:lnTo>
                  <a:lnTo>
                    <a:pt x="2566" y="2007"/>
                  </a:lnTo>
                  <a:lnTo>
                    <a:pt x="2558" y="2009"/>
                  </a:lnTo>
                  <a:lnTo>
                    <a:pt x="2551" y="2011"/>
                  </a:lnTo>
                  <a:lnTo>
                    <a:pt x="2544" y="2012"/>
                  </a:lnTo>
                  <a:lnTo>
                    <a:pt x="2544" y="2012"/>
                  </a:lnTo>
                  <a:lnTo>
                    <a:pt x="2538" y="2011"/>
                  </a:lnTo>
                  <a:lnTo>
                    <a:pt x="2530" y="2011"/>
                  </a:lnTo>
                  <a:lnTo>
                    <a:pt x="2522" y="2008"/>
                  </a:lnTo>
                  <a:lnTo>
                    <a:pt x="2512" y="2003"/>
                  </a:lnTo>
                  <a:lnTo>
                    <a:pt x="2503" y="1997"/>
                  </a:lnTo>
                  <a:lnTo>
                    <a:pt x="2500" y="1992"/>
                  </a:lnTo>
                  <a:lnTo>
                    <a:pt x="2496" y="1987"/>
                  </a:lnTo>
                  <a:lnTo>
                    <a:pt x="2493" y="1981"/>
                  </a:lnTo>
                  <a:lnTo>
                    <a:pt x="2491" y="1974"/>
                  </a:lnTo>
                  <a:lnTo>
                    <a:pt x="2490" y="1967"/>
                  </a:lnTo>
                  <a:lnTo>
                    <a:pt x="2489" y="1958"/>
                  </a:lnTo>
                  <a:lnTo>
                    <a:pt x="2639" y="1958"/>
                  </a:lnTo>
                  <a:lnTo>
                    <a:pt x="2639" y="1958"/>
                  </a:lnTo>
                  <a:lnTo>
                    <a:pt x="2641" y="1940"/>
                  </a:lnTo>
                  <a:lnTo>
                    <a:pt x="2641" y="1940"/>
                  </a:lnTo>
                  <a:lnTo>
                    <a:pt x="2641" y="1925"/>
                  </a:lnTo>
                  <a:lnTo>
                    <a:pt x="2638" y="1912"/>
                  </a:lnTo>
                  <a:lnTo>
                    <a:pt x="2637" y="1898"/>
                  </a:lnTo>
                  <a:lnTo>
                    <a:pt x="2633" y="1886"/>
                  </a:lnTo>
                  <a:lnTo>
                    <a:pt x="2630" y="1875"/>
                  </a:lnTo>
                  <a:lnTo>
                    <a:pt x="2625" y="1864"/>
                  </a:lnTo>
                  <a:lnTo>
                    <a:pt x="2618" y="1854"/>
                  </a:lnTo>
                  <a:lnTo>
                    <a:pt x="2612" y="1846"/>
                  </a:lnTo>
                  <a:lnTo>
                    <a:pt x="2605" y="1837"/>
                  </a:lnTo>
                  <a:lnTo>
                    <a:pt x="2598" y="1831"/>
                  </a:lnTo>
                  <a:lnTo>
                    <a:pt x="2589" y="1825"/>
                  </a:lnTo>
                  <a:lnTo>
                    <a:pt x="2579" y="1820"/>
                  </a:lnTo>
                  <a:lnTo>
                    <a:pt x="2569" y="1816"/>
                  </a:lnTo>
                  <a:lnTo>
                    <a:pt x="2560" y="1813"/>
                  </a:lnTo>
                  <a:lnTo>
                    <a:pt x="2549" y="1811"/>
                  </a:lnTo>
                  <a:lnTo>
                    <a:pt x="2536" y="1810"/>
                  </a:lnTo>
                  <a:lnTo>
                    <a:pt x="2536" y="1810"/>
                  </a:lnTo>
                  <a:lnTo>
                    <a:pt x="2525" y="1811"/>
                  </a:lnTo>
                  <a:lnTo>
                    <a:pt x="2514" y="1813"/>
                  </a:lnTo>
                  <a:lnTo>
                    <a:pt x="2503" y="1816"/>
                  </a:lnTo>
                  <a:lnTo>
                    <a:pt x="2492" y="1820"/>
                  </a:lnTo>
                  <a:lnTo>
                    <a:pt x="2482" y="1825"/>
                  </a:lnTo>
                  <a:lnTo>
                    <a:pt x="2474" y="1832"/>
                  </a:lnTo>
                  <a:lnTo>
                    <a:pt x="2465" y="1838"/>
                  </a:lnTo>
                  <a:lnTo>
                    <a:pt x="2458" y="1847"/>
                  </a:lnTo>
                  <a:lnTo>
                    <a:pt x="2451" y="1855"/>
                  </a:lnTo>
                  <a:lnTo>
                    <a:pt x="2444" y="1865"/>
                  </a:lnTo>
                  <a:lnTo>
                    <a:pt x="2439" y="1876"/>
                  </a:lnTo>
                  <a:lnTo>
                    <a:pt x="2435" y="1887"/>
                  </a:lnTo>
                  <a:lnTo>
                    <a:pt x="2431" y="1899"/>
                  </a:lnTo>
                  <a:lnTo>
                    <a:pt x="2428" y="1913"/>
                  </a:lnTo>
                  <a:lnTo>
                    <a:pt x="2427" y="1925"/>
                  </a:lnTo>
                  <a:lnTo>
                    <a:pt x="2426" y="1940"/>
                  </a:lnTo>
                  <a:lnTo>
                    <a:pt x="2426" y="1940"/>
                  </a:lnTo>
                  <a:lnTo>
                    <a:pt x="2427" y="1953"/>
                  </a:lnTo>
                  <a:lnTo>
                    <a:pt x="2428" y="1967"/>
                  </a:lnTo>
                  <a:lnTo>
                    <a:pt x="2431" y="1980"/>
                  </a:lnTo>
                  <a:lnTo>
                    <a:pt x="2435" y="1992"/>
                  </a:lnTo>
                  <a:lnTo>
                    <a:pt x="2439" y="2003"/>
                  </a:lnTo>
                  <a:lnTo>
                    <a:pt x="2444" y="2014"/>
                  </a:lnTo>
                  <a:lnTo>
                    <a:pt x="2451" y="2024"/>
                  </a:lnTo>
                  <a:lnTo>
                    <a:pt x="2458" y="2033"/>
                  </a:lnTo>
                  <a:lnTo>
                    <a:pt x="2466" y="2040"/>
                  </a:lnTo>
                  <a:lnTo>
                    <a:pt x="2475" y="2047"/>
                  </a:lnTo>
                  <a:lnTo>
                    <a:pt x="2485" y="2054"/>
                  </a:lnTo>
                  <a:lnTo>
                    <a:pt x="2495" y="2058"/>
                  </a:lnTo>
                  <a:lnTo>
                    <a:pt x="2506" y="2062"/>
                  </a:lnTo>
                  <a:lnTo>
                    <a:pt x="2518" y="2066"/>
                  </a:lnTo>
                  <a:lnTo>
                    <a:pt x="2530" y="2067"/>
                  </a:lnTo>
                  <a:lnTo>
                    <a:pt x="2544" y="2068"/>
                  </a:lnTo>
                  <a:lnTo>
                    <a:pt x="2544" y="2068"/>
                  </a:lnTo>
                  <a:lnTo>
                    <a:pt x="2556" y="2067"/>
                  </a:lnTo>
                  <a:lnTo>
                    <a:pt x="2567" y="2066"/>
                  </a:lnTo>
                  <a:lnTo>
                    <a:pt x="2579" y="2062"/>
                  </a:lnTo>
                  <a:lnTo>
                    <a:pt x="2590" y="2058"/>
                  </a:lnTo>
                  <a:lnTo>
                    <a:pt x="2601" y="2052"/>
                  </a:lnTo>
                  <a:lnTo>
                    <a:pt x="2611" y="2046"/>
                  </a:lnTo>
                  <a:lnTo>
                    <a:pt x="2621" y="2038"/>
                  </a:lnTo>
                  <a:lnTo>
                    <a:pt x="2631" y="2029"/>
                  </a:lnTo>
                  <a:lnTo>
                    <a:pt x="2592" y="1991"/>
                  </a:lnTo>
                  <a:close/>
                  <a:moveTo>
                    <a:pt x="2490" y="1913"/>
                  </a:moveTo>
                  <a:lnTo>
                    <a:pt x="2490" y="1913"/>
                  </a:lnTo>
                  <a:lnTo>
                    <a:pt x="2491" y="1902"/>
                  </a:lnTo>
                  <a:lnTo>
                    <a:pt x="2493" y="1892"/>
                  </a:lnTo>
                  <a:lnTo>
                    <a:pt x="2497" y="1883"/>
                  </a:lnTo>
                  <a:lnTo>
                    <a:pt x="2503" y="1876"/>
                  </a:lnTo>
                  <a:lnTo>
                    <a:pt x="2509" y="1870"/>
                  </a:lnTo>
                  <a:lnTo>
                    <a:pt x="2517" y="1866"/>
                  </a:lnTo>
                  <a:lnTo>
                    <a:pt x="2525" y="1863"/>
                  </a:lnTo>
                  <a:lnTo>
                    <a:pt x="2535" y="1863"/>
                  </a:lnTo>
                  <a:lnTo>
                    <a:pt x="2535" y="1863"/>
                  </a:lnTo>
                  <a:lnTo>
                    <a:pt x="2546" y="1864"/>
                  </a:lnTo>
                  <a:lnTo>
                    <a:pt x="2556" y="1866"/>
                  </a:lnTo>
                  <a:lnTo>
                    <a:pt x="2563" y="1871"/>
                  </a:lnTo>
                  <a:lnTo>
                    <a:pt x="2569" y="1879"/>
                  </a:lnTo>
                  <a:lnTo>
                    <a:pt x="2574" y="1886"/>
                  </a:lnTo>
                  <a:lnTo>
                    <a:pt x="2578" y="1894"/>
                  </a:lnTo>
                  <a:lnTo>
                    <a:pt x="2580" y="1904"/>
                  </a:lnTo>
                  <a:lnTo>
                    <a:pt x="2582" y="1913"/>
                  </a:lnTo>
                  <a:lnTo>
                    <a:pt x="2490" y="1913"/>
                  </a:lnTo>
                  <a:close/>
                  <a:moveTo>
                    <a:pt x="3181" y="1991"/>
                  </a:moveTo>
                  <a:lnTo>
                    <a:pt x="3181" y="1991"/>
                  </a:lnTo>
                  <a:lnTo>
                    <a:pt x="3171" y="1998"/>
                  </a:lnTo>
                  <a:lnTo>
                    <a:pt x="3162" y="2005"/>
                  </a:lnTo>
                  <a:lnTo>
                    <a:pt x="3154" y="2007"/>
                  </a:lnTo>
                  <a:lnTo>
                    <a:pt x="3148" y="2009"/>
                  </a:lnTo>
                  <a:lnTo>
                    <a:pt x="3141" y="2011"/>
                  </a:lnTo>
                  <a:lnTo>
                    <a:pt x="3132" y="2012"/>
                  </a:lnTo>
                  <a:lnTo>
                    <a:pt x="3132" y="2012"/>
                  </a:lnTo>
                  <a:lnTo>
                    <a:pt x="3126" y="2011"/>
                  </a:lnTo>
                  <a:lnTo>
                    <a:pt x="3119" y="2011"/>
                  </a:lnTo>
                  <a:lnTo>
                    <a:pt x="3110" y="2008"/>
                  </a:lnTo>
                  <a:lnTo>
                    <a:pt x="3101" y="2003"/>
                  </a:lnTo>
                  <a:lnTo>
                    <a:pt x="3093" y="1997"/>
                  </a:lnTo>
                  <a:lnTo>
                    <a:pt x="3089" y="1992"/>
                  </a:lnTo>
                  <a:lnTo>
                    <a:pt x="3086" y="1987"/>
                  </a:lnTo>
                  <a:lnTo>
                    <a:pt x="3083" y="1981"/>
                  </a:lnTo>
                  <a:lnTo>
                    <a:pt x="3081" y="1974"/>
                  </a:lnTo>
                  <a:lnTo>
                    <a:pt x="3078" y="1967"/>
                  </a:lnTo>
                  <a:lnTo>
                    <a:pt x="3077" y="1958"/>
                  </a:lnTo>
                  <a:lnTo>
                    <a:pt x="3229" y="1958"/>
                  </a:lnTo>
                  <a:lnTo>
                    <a:pt x="3229" y="1958"/>
                  </a:lnTo>
                  <a:lnTo>
                    <a:pt x="3230" y="1940"/>
                  </a:lnTo>
                  <a:lnTo>
                    <a:pt x="3230" y="1940"/>
                  </a:lnTo>
                  <a:lnTo>
                    <a:pt x="3229" y="1925"/>
                  </a:lnTo>
                  <a:lnTo>
                    <a:pt x="3228" y="1912"/>
                  </a:lnTo>
                  <a:lnTo>
                    <a:pt x="3225" y="1898"/>
                  </a:lnTo>
                  <a:lnTo>
                    <a:pt x="3223" y="1886"/>
                  </a:lnTo>
                  <a:lnTo>
                    <a:pt x="3218" y="1875"/>
                  </a:lnTo>
                  <a:lnTo>
                    <a:pt x="3213" y="1864"/>
                  </a:lnTo>
                  <a:lnTo>
                    <a:pt x="3208" y="1854"/>
                  </a:lnTo>
                  <a:lnTo>
                    <a:pt x="3202" y="1846"/>
                  </a:lnTo>
                  <a:lnTo>
                    <a:pt x="3195" y="1837"/>
                  </a:lnTo>
                  <a:lnTo>
                    <a:pt x="3186" y="1831"/>
                  </a:lnTo>
                  <a:lnTo>
                    <a:pt x="3177" y="1825"/>
                  </a:lnTo>
                  <a:lnTo>
                    <a:pt x="3169" y="1820"/>
                  </a:lnTo>
                  <a:lnTo>
                    <a:pt x="3159" y="1816"/>
                  </a:lnTo>
                  <a:lnTo>
                    <a:pt x="3148" y="1813"/>
                  </a:lnTo>
                  <a:lnTo>
                    <a:pt x="3137" y="1811"/>
                  </a:lnTo>
                  <a:lnTo>
                    <a:pt x="3126" y="1810"/>
                  </a:lnTo>
                  <a:lnTo>
                    <a:pt x="3126" y="1810"/>
                  </a:lnTo>
                  <a:lnTo>
                    <a:pt x="3114" y="1811"/>
                  </a:lnTo>
                  <a:lnTo>
                    <a:pt x="3103" y="1813"/>
                  </a:lnTo>
                  <a:lnTo>
                    <a:pt x="3092" y="1816"/>
                  </a:lnTo>
                  <a:lnTo>
                    <a:pt x="3082" y="1820"/>
                  </a:lnTo>
                  <a:lnTo>
                    <a:pt x="3072" y="1825"/>
                  </a:lnTo>
                  <a:lnTo>
                    <a:pt x="3062" y="1832"/>
                  </a:lnTo>
                  <a:lnTo>
                    <a:pt x="3055" y="1838"/>
                  </a:lnTo>
                  <a:lnTo>
                    <a:pt x="3046" y="1847"/>
                  </a:lnTo>
                  <a:lnTo>
                    <a:pt x="3039" y="1855"/>
                  </a:lnTo>
                  <a:lnTo>
                    <a:pt x="3033" y="1865"/>
                  </a:lnTo>
                  <a:lnTo>
                    <a:pt x="3028" y="1876"/>
                  </a:lnTo>
                  <a:lnTo>
                    <a:pt x="3023" y="1887"/>
                  </a:lnTo>
                  <a:lnTo>
                    <a:pt x="3021" y="1899"/>
                  </a:lnTo>
                  <a:lnTo>
                    <a:pt x="3017" y="1913"/>
                  </a:lnTo>
                  <a:lnTo>
                    <a:pt x="3016" y="1925"/>
                  </a:lnTo>
                  <a:lnTo>
                    <a:pt x="3016" y="1940"/>
                  </a:lnTo>
                  <a:lnTo>
                    <a:pt x="3016" y="1940"/>
                  </a:lnTo>
                  <a:lnTo>
                    <a:pt x="3016" y="1953"/>
                  </a:lnTo>
                  <a:lnTo>
                    <a:pt x="3017" y="1967"/>
                  </a:lnTo>
                  <a:lnTo>
                    <a:pt x="3019" y="1980"/>
                  </a:lnTo>
                  <a:lnTo>
                    <a:pt x="3023" y="1992"/>
                  </a:lnTo>
                  <a:lnTo>
                    <a:pt x="3028" y="2003"/>
                  </a:lnTo>
                  <a:lnTo>
                    <a:pt x="3034" y="2014"/>
                  </a:lnTo>
                  <a:lnTo>
                    <a:pt x="3040" y="2024"/>
                  </a:lnTo>
                  <a:lnTo>
                    <a:pt x="3048" y="2033"/>
                  </a:lnTo>
                  <a:lnTo>
                    <a:pt x="3055" y="2040"/>
                  </a:lnTo>
                  <a:lnTo>
                    <a:pt x="3063" y="2047"/>
                  </a:lnTo>
                  <a:lnTo>
                    <a:pt x="3073" y="2054"/>
                  </a:lnTo>
                  <a:lnTo>
                    <a:pt x="3084" y="2058"/>
                  </a:lnTo>
                  <a:lnTo>
                    <a:pt x="3095" y="2062"/>
                  </a:lnTo>
                  <a:lnTo>
                    <a:pt x="3106" y="2066"/>
                  </a:lnTo>
                  <a:lnTo>
                    <a:pt x="3120" y="2067"/>
                  </a:lnTo>
                  <a:lnTo>
                    <a:pt x="3132" y="2068"/>
                  </a:lnTo>
                  <a:lnTo>
                    <a:pt x="3132" y="2068"/>
                  </a:lnTo>
                  <a:lnTo>
                    <a:pt x="3144" y="2067"/>
                  </a:lnTo>
                  <a:lnTo>
                    <a:pt x="3157" y="2066"/>
                  </a:lnTo>
                  <a:lnTo>
                    <a:pt x="3168" y="2062"/>
                  </a:lnTo>
                  <a:lnTo>
                    <a:pt x="3179" y="2058"/>
                  </a:lnTo>
                  <a:lnTo>
                    <a:pt x="3190" y="2052"/>
                  </a:lnTo>
                  <a:lnTo>
                    <a:pt x="3201" y="2046"/>
                  </a:lnTo>
                  <a:lnTo>
                    <a:pt x="3211" y="2038"/>
                  </a:lnTo>
                  <a:lnTo>
                    <a:pt x="3219" y="2029"/>
                  </a:lnTo>
                  <a:lnTo>
                    <a:pt x="3181" y="1991"/>
                  </a:lnTo>
                  <a:close/>
                  <a:moveTo>
                    <a:pt x="3078" y="1913"/>
                  </a:moveTo>
                  <a:lnTo>
                    <a:pt x="3078" y="1913"/>
                  </a:lnTo>
                  <a:lnTo>
                    <a:pt x="3079" y="1902"/>
                  </a:lnTo>
                  <a:lnTo>
                    <a:pt x="3083" y="1892"/>
                  </a:lnTo>
                  <a:lnTo>
                    <a:pt x="3087" y="1883"/>
                  </a:lnTo>
                  <a:lnTo>
                    <a:pt x="3092" y="1876"/>
                  </a:lnTo>
                  <a:lnTo>
                    <a:pt x="3099" y="1870"/>
                  </a:lnTo>
                  <a:lnTo>
                    <a:pt x="3106" y="1866"/>
                  </a:lnTo>
                  <a:lnTo>
                    <a:pt x="3115" y="1863"/>
                  </a:lnTo>
                  <a:lnTo>
                    <a:pt x="3125" y="1863"/>
                  </a:lnTo>
                  <a:lnTo>
                    <a:pt x="3125" y="1863"/>
                  </a:lnTo>
                  <a:lnTo>
                    <a:pt x="3136" y="1864"/>
                  </a:lnTo>
                  <a:lnTo>
                    <a:pt x="3144" y="1866"/>
                  </a:lnTo>
                  <a:lnTo>
                    <a:pt x="3153" y="1871"/>
                  </a:lnTo>
                  <a:lnTo>
                    <a:pt x="3159" y="1879"/>
                  </a:lnTo>
                  <a:lnTo>
                    <a:pt x="3164" y="1886"/>
                  </a:lnTo>
                  <a:lnTo>
                    <a:pt x="3168" y="1894"/>
                  </a:lnTo>
                  <a:lnTo>
                    <a:pt x="3170" y="1904"/>
                  </a:lnTo>
                  <a:lnTo>
                    <a:pt x="3171" y="1913"/>
                  </a:lnTo>
                  <a:lnTo>
                    <a:pt x="3078" y="1913"/>
                  </a:lnTo>
                  <a:close/>
                  <a:moveTo>
                    <a:pt x="2931" y="1976"/>
                  </a:moveTo>
                  <a:lnTo>
                    <a:pt x="2931" y="1976"/>
                  </a:lnTo>
                  <a:lnTo>
                    <a:pt x="2931" y="1985"/>
                  </a:lnTo>
                  <a:lnTo>
                    <a:pt x="2932" y="1991"/>
                  </a:lnTo>
                  <a:lnTo>
                    <a:pt x="2935" y="1997"/>
                  </a:lnTo>
                  <a:lnTo>
                    <a:pt x="2937" y="2002"/>
                  </a:lnTo>
                  <a:lnTo>
                    <a:pt x="2941" y="2006"/>
                  </a:lnTo>
                  <a:lnTo>
                    <a:pt x="2946" y="2008"/>
                  </a:lnTo>
                  <a:lnTo>
                    <a:pt x="2951" y="2009"/>
                  </a:lnTo>
                  <a:lnTo>
                    <a:pt x="2958" y="2009"/>
                  </a:lnTo>
                  <a:lnTo>
                    <a:pt x="2958" y="2009"/>
                  </a:lnTo>
                  <a:lnTo>
                    <a:pt x="2967" y="2009"/>
                  </a:lnTo>
                  <a:lnTo>
                    <a:pt x="2976" y="2007"/>
                  </a:lnTo>
                  <a:lnTo>
                    <a:pt x="2986" y="2003"/>
                  </a:lnTo>
                  <a:lnTo>
                    <a:pt x="2995" y="1998"/>
                  </a:lnTo>
                  <a:lnTo>
                    <a:pt x="2987" y="2056"/>
                  </a:lnTo>
                  <a:lnTo>
                    <a:pt x="2987" y="2056"/>
                  </a:lnTo>
                  <a:lnTo>
                    <a:pt x="2976" y="2061"/>
                  </a:lnTo>
                  <a:lnTo>
                    <a:pt x="2963" y="2065"/>
                  </a:lnTo>
                  <a:lnTo>
                    <a:pt x="2949" y="2067"/>
                  </a:lnTo>
                  <a:lnTo>
                    <a:pt x="2936" y="2068"/>
                  </a:lnTo>
                  <a:lnTo>
                    <a:pt x="2936" y="2068"/>
                  </a:lnTo>
                  <a:lnTo>
                    <a:pt x="2927" y="2067"/>
                  </a:lnTo>
                  <a:lnTo>
                    <a:pt x="2919" y="2066"/>
                  </a:lnTo>
                  <a:lnTo>
                    <a:pt x="2911" y="2063"/>
                  </a:lnTo>
                  <a:lnTo>
                    <a:pt x="2905" y="2061"/>
                  </a:lnTo>
                  <a:lnTo>
                    <a:pt x="2899" y="2057"/>
                  </a:lnTo>
                  <a:lnTo>
                    <a:pt x="2893" y="2054"/>
                  </a:lnTo>
                  <a:lnTo>
                    <a:pt x="2889" y="2049"/>
                  </a:lnTo>
                  <a:lnTo>
                    <a:pt x="2884" y="2043"/>
                  </a:lnTo>
                  <a:lnTo>
                    <a:pt x="2878" y="2032"/>
                  </a:lnTo>
                  <a:lnTo>
                    <a:pt x="2873" y="2018"/>
                  </a:lnTo>
                  <a:lnTo>
                    <a:pt x="2871" y="2006"/>
                  </a:lnTo>
                  <a:lnTo>
                    <a:pt x="2870" y="1992"/>
                  </a:lnTo>
                  <a:lnTo>
                    <a:pt x="2870" y="1872"/>
                  </a:lnTo>
                  <a:lnTo>
                    <a:pt x="2832" y="1872"/>
                  </a:lnTo>
                  <a:lnTo>
                    <a:pt x="2832" y="1816"/>
                  </a:lnTo>
                  <a:lnTo>
                    <a:pt x="2870" y="1816"/>
                  </a:lnTo>
                  <a:lnTo>
                    <a:pt x="2870" y="1753"/>
                  </a:lnTo>
                  <a:lnTo>
                    <a:pt x="2931" y="1722"/>
                  </a:lnTo>
                  <a:lnTo>
                    <a:pt x="2931" y="1816"/>
                  </a:lnTo>
                  <a:lnTo>
                    <a:pt x="2986" y="1816"/>
                  </a:lnTo>
                  <a:lnTo>
                    <a:pt x="2986" y="1872"/>
                  </a:lnTo>
                  <a:lnTo>
                    <a:pt x="2931" y="1872"/>
                  </a:lnTo>
                  <a:lnTo>
                    <a:pt x="2931" y="1976"/>
                  </a:lnTo>
                  <a:close/>
                  <a:moveTo>
                    <a:pt x="2812" y="2056"/>
                  </a:moveTo>
                  <a:lnTo>
                    <a:pt x="2812" y="2056"/>
                  </a:lnTo>
                  <a:lnTo>
                    <a:pt x="2801" y="2061"/>
                  </a:lnTo>
                  <a:lnTo>
                    <a:pt x="2789" y="2065"/>
                  </a:lnTo>
                  <a:lnTo>
                    <a:pt x="2775" y="2067"/>
                  </a:lnTo>
                  <a:lnTo>
                    <a:pt x="2762" y="2068"/>
                  </a:lnTo>
                  <a:lnTo>
                    <a:pt x="2762" y="2068"/>
                  </a:lnTo>
                  <a:lnTo>
                    <a:pt x="2752" y="2067"/>
                  </a:lnTo>
                  <a:lnTo>
                    <a:pt x="2745" y="2066"/>
                  </a:lnTo>
                  <a:lnTo>
                    <a:pt x="2737" y="2063"/>
                  </a:lnTo>
                  <a:lnTo>
                    <a:pt x="2730" y="2061"/>
                  </a:lnTo>
                  <a:lnTo>
                    <a:pt x="2725" y="2057"/>
                  </a:lnTo>
                  <a:lnTo>
                    <a:pt x="2719" y="2054"/>
                  </a:lnTo>
                  <a:lnTo>
                    <a:pt x="2714" y="2049"/>
                  </a:lnTo>
                  <a:lnTo>
                    <a:pt x="2710" y="2043"/>
                  </a:lnTo>
                  <a:lnTo>
                    <a:pt x="2703" y="2032"/>
                  </a:lnTo>
                  <a:lnTo>
                    <a:pt x="2699" y="2018"/>
                  </a:lnTo>
                  <a:lnTo>
                    <a:pt x="2696" y="2006"/>
                  </a:lnTo>
                  <a:lnTo>
                    <a:pt x="2696" y="1992"/>
                  </a:lnTo>
                  <a:lnTo>
                    <a:pt x="2696" y="1872"/>
                  </a:lnTo>
                  <a:lnTo>
                    <a:pt x="2658" y="1872"/>
                  </a:lnTo>
                  <a:lnTo>
                    <a:pt x="2658" y="1816"/>
                  </a:lnTo>
                  <a:lnTo>
                    <a:pt x="2696" y="1816"/>
                  </a:lnTo>
                  <a:lnTo>
                    <a:pt x="2696" y="1753"/>
                  </a:lnTo>
                  <a:lnTo>
                    <a:pt x="2757" y="1722"/>
                  </a:lnTo>
                  <a:lnTo>
                    <a:pt x="2757" y="1816"/>
                  </a:lnTo>
                  <a:lnTo>
                    <a:pt x="2808" y="1816"/>
                  </a:lnTo>
                  <a:lnTo>
                    <a:pt x="2808" y="1872"/>
                  </a:lnTo>
                  <a:lnTo>
                    <a:pt x="2757" y="1872"/>
                  </a:lnTo>
                  <a:lnTo>
                    <a:pt x="2757" y="1976"/>
                  </a:lnTo>
                  <a:lnTo>
                    <a:pt x="2757" y="1976"/>
                  </a:lnTo>
                  <a:lnTo>
                    <a:pt x="2757" y="1985"/>
                  </a:lnTo>
                  <a:lnTo>
                    <a:pt x="2758" y="1991"/>
                  </a:lnTo>
                  <a:lnTo>
                    <a:pt x="2761" y="1997"/>
                  </a:lnTo>
                  <a:lnTo>
                    <a:pt x="2763" y="2002"/>
                  </a:lnTo>
                  <a:lnTo>
                    <a:pt x="2767" y="2006"/>
                  </a:lnTo>
                  <a:lnTo>
                    <a:pt x="2772" y="2008"/>
                  </a:lnTo>
                  <a:lnTo>
                    <a:pt x="2777" y="2009"/>
                  </a:lnTo>
                  <a:lnTo>
                    <a:pt x="2783" y="2009"/>
                  </a:lnTo>
                  <a:lnTo>
                    <a:pt x="2783" y="2009"/>
                  </a:lnTo>
                  <a:lnTo>
                    <a:pt x="2793" y="2009"/>
                  </a:lnTo>
                  <a:lnTo>
                    <a:pt x="2802" y="2007"/>
                  </a:lnTo>
                  <a:lnTo>
                    <a:pt x="2811" y="2003"/>
                  </a:lnTo>
                  <a:lnTo>
                    <a:pt x="2820" y="1998"/>
                  </a:lnTo>
                  <a:lnTo>
                    <a:pt x="2812" y="2056"/>
                  </a:lnTo>
                  <a:close/>
                  <a:moveTo>
                    <a:pt x="3414" y="1885"/>
                  </a:moveTo>
                  <a:lnTo>
                    <a:pt x="3414" y="1885"/>
                  </a:lnTo>
                  <a:lnTo>
                    <a:pt x="3405" y="1879"/>
                  </a:lnTo>
                  <a:lnTo>
                    <a:pt x="3396" y="1875"/>
                  </a:lnTo>
                  <a:lnTo>
                    <a:pt x="3385" y="1872"/>
                  </a:lnTo>
                  <a:lnTo>
                    <a:pt x="3374" y="1871"/>
                  </a:lnTo>
                  <a:lnTo>
                    <a:pt x="3374" y="1871"/>
                  </a:lnTo>
                  <a:lnTo>
                    <a:pt x="3364" y="1872"/>
                  </a:lnTo>
                  <a:lnTo>
                    <a:pt x="3354" y="1875"/>
                  </a:lnTo>
                  <a:lnTo>
                    <a:pt x="3347" y="1880"/>
                  </a:lnTo>
                  <a:lnTo>
                    <a:pt x="3341" y="1886"/>
                  </a:lnTo>
                  <a:lnTo>
                    <a:pt x="3336" y="1893"/>
                  </a:lnTo>
                  <a:lnTo>
                    <a:pt x="3333" y="1903"/>
                  </a:lnTo>
                  <a:lnTo>
                    <a:pt x="3331" y="1915"/>
                  </a:lnTo>
                  <a:lnTo>
                    <a:pt x="3329" y="1929"/>
                  </a:lnTo>
                  <a:lnTo>
                    <a:pt x="3329" y="2062"/>
                  </a:lnTo>
                  <a:lnTo>
                    <a:pt x="3269" y="2062"/>
                  </a:lnTo>
                  <a:lnTo>
                    <a:pt x="3269" y="1816"/>
                  </a:lnTo>
                  <a:lnTo>
                    <a:pt x="3329" y="1816"/>
                  </a:lnTo>
                  <a:lnTo>
                    <a:pt x="3329" y="1837"/>
                  </a:lnTo>
                  <a:lnTo>
                    <a:pt x="3329" y="1837"/>
                  </a:lnTo>
                  <a:lnTo>
                    <a:pt x="3336" y="1831"/>
                  </a:lnTo>
                  <a:lnTo>
                    <a:pt x="3342" y="1825"/>
                  </a:lnTo>
                  <a:lnTo>
                    <a:pt x="3348" y="1821"/>
                  </a:lnTo>
                  <a:lnTo>
                    <a:pt x="3355" y="1817"/>
                  </a:lnTo>
                  <a:lnTo>
                    <a:pt x="3361" y="1814"/>
                  </a:lnTo>
                  <a:lnTo>
                    <a:pt x="3369" y="1813"/>
                  </a:lnTo>
                  <a:lnTo>
                    <a:pt x="3376" y="1811"/>
                  </a:lnTo>
                  <a:lnTo>
                    <a:pt x="3385" y="1810"/>
                  </a:lnTo>
                  <a:lnTo>
                    <a:pt x="3385" y="1810"/>
                  </a:lnTo>
                  <a:lnTo>
                    <a:pt x="3397" y="1811"/>
                  </a:lnTo>
                  <a:lnTo>
                    <a:pt x="3409" y="1815"/>
                  </a:lnTo>
                  <a:lnTo>
                    <a:pt x="3420" y="1819"/>
                  </a:lnTo>
                  <a:lnTo>
                    <a:pt x="3430" y="1825"/>
                  </a:lnTo>
                  <a:lnTo>
                    <a:pt x="3414" y="1885"/>
                  </a:lnTo>
                  <a:close/>
                  <a:moveTo>
                    <a:pt x="658" y="1757"/>
                  </a:moveTo>
                  <a:lnTo>
                    <a:pt x="658" y="1781"/>
                  </a:lnTo>
                  <a:lnTo>
                    <a:pt x="597" y="1781"/>
                  </a:lnTo>
                  <a:lnTo>
                    <a:pt x="597" y="1720"/>
                  </a:lnTo>
                  <a:lnTo>
                    <a:pt x="658" y="1720"/>
                  </a:lnTo>
                  <a:lnTo>
                    <a:pt x="658" y="1757"/>
                  </a:lnTo>
                  <a:close/>
                  <a:moveTo>
                    <a:pt x="1082" y="1816"/>
                  </a:moveTo>
                  <a:lnTo>
                    <a:pt x="1144" y="1816"/>
                  </a:lnTo>
                  <a:lnTo>
                    <a:pt x="1144" y="1942"/>
                  </a:lnTo>
                  <a:lnTo>
                    <a:pt x="1144" y="2062"/>
                  </a:lnTo>
                  <a:lnTo>
                    <a:pt x="1082" y="2062"/>
                  </a:lnTo>
                  <a:lnTo>
                    <a:pt x="1082" y="1816"/>
                  </a:lnTo>
                  <a:close/>
                  <a:moveTo>
                    <a:pt x="1144" y="1750"/>
                  </a:moveTo>
                  <a:lnTo>
                    <a:pt x="1144" y="1781"/>
                  </a:lnTo>
                  <a:lnTo>
                    <a:pt x="1082" y="1781"/>
                  </a:lnTo>
                  <a:lnTo>
                    <a:pt x="1082" y="1720"/>
                  </a:lnTo>
                  <a:lnTo>
                    <a:pt x="1144" y="1720"/>
                  </a:lnTo>
                  <a:lnTo>
                    <a:pt x="1144" y="1750"/>
                  </a:lnTo>
                  <a:close/>
                  <a:moveTo>
                    <a:pt x="2821" y="2264"/>
                  </a:moveTo>
                  <a:lnTo>
                    <a:pt x="2821" y="2264"/>
                  </a:lnTo>
                  <a:lnTo>
                    <a:pt x="2815" y="2259"/>
                  </a:lnTo>
                  <a:lnTo>
                    <a:pt x="2808" y="2254"/>
                  </a:lnTo>
                  <a:lnTo>
                    <a:pt x="2802" y="2250"/>
                  </a:lnTo>
                  <a:lnTo>
                    <a:pt x="2795" y="2247"/>
                  </a:lnTo>
                  <a:lnTo>
                    <a:pt x="2789" y="2244"/>
                  </a:lnTo>
                  <a:lnTo>
                    <a:pt x="2782" y="2243"/>
                  </a:lnTo>
                  <a:lnTo>
                    <a:pt x="2766" y="2241"/>
                  </a:lnTo>
                  <a:lnTo>
                    <a:pt x="2766" y="2241"/>
                  </a:lnTo>
                  <a:lnTo>
                    <a:pt x="2755" y="2242"/>
                  </a:lnTo>
                  <a:lnTo>
                    <a:pt x="2745" y="2243"/>
                  </a:lnTo>
                  <a:lnTo>
                    <a:pt x="2735" y="2247"/>
                  </a:lnTo>
                  <a:lnTo>
                    <a:pt x="2725" y="2250"/>
                  </a:lnTo>
                  <a:lnTo>
                    <a:pt x="2717" y="2255"/>
                  </a:lnTo>
                  <a:lnTo>
                    <a:pt x="2709" y="2260"/>
                  </a:lnTo>
                  <a:lnTo>
                    <a:pt x="2702" y="2268"/>
                  </a:lnTo>
                  <a:lnTo>
                    <a:pt x="2694" y="2275"/>
                  </a:lnTo>
                  <a:lnTo>
                    <a:pt x="2690" y="2284"/>
                  </a:lnTo>
                  <a:lnTo>
                    <a:pt x="2683" y="2293"/>
                  </a:lnTo>
                  <a:lnTo>
                    <a:pt x="2680" y="2303"/>
                  </a:lnTo>
                  <a:lnTo>
                    <a:pt x="2676" y="2315"/>
                  </a:lnTo>
                  <a:lnTo>
                    <a:pt x="2672" y="2326"/>
                  </a:lnTo>
                  <a:lnTo>
                    <a:pt x="2671" y="2340"/>
                  </a:lnTo>
                  <a:lnTo>
                    <a:pt x="2670" y="2353"/>
                  </a:lnTo>
                  <a:lnTo>
                    <a:pt x="2669" y="2368"/>
                  </a:lnTo>
                  <a:lnTo>
                    <a:pt x="2669" y="2368"/>
                  </a:lnTo>
                  <a:lnTo>
                    <a:pt x="2670" y="2383"/>
                  </a:lnTo>
                  <a:lnTo>
                    <a:pt x="2671" y="2396"/>
                  </a:lnTo>
                  <a:lnTo>
                    <a:pt x="2672" y="2410"/>
                  </a:lnTo>
                  <a:lnTo>
                    <a:pt x="2676" y="2423"/>
                  </a:lnTo>
                  <a:lnTo>
                    <a:pt x="2679" y="2434"/>
                  </a:lnTo>
                  <a:lnTo>
                    <a:pt x="2683" y="2445"/>
                  </a:lnTo>
                  <a:lnTo>
                    <a:pt x="2688" y="2455"/>
                  </a:lnTo>
                  <a:lnTo>
                    <a:pt x="2694" y="2463"/>
                  </a:lnTo>
                  <a:lnTo>
                    <a:pt x="2701" y="2472"/>
                  </a:lnTo>
                  <a:lnTo>
                    <a:pt x="2708" y="2478"/>
                  </a:lnTo>
                  <a:lnTo>
                    <a:pt x="2715" y="2484"/>
                  </a:lnTo>
                  <a:lnTo>
                    <a:pt x="2724" y="2489"/>
                  </a:lnTo>
                  <a:lnTo>
                    <a:pt x="2734" y="2494"/>
                  </a:lnTo>
                  <a:lnTo>
                    <a:pt x="2744" y="2496"/>
                  </a:lnTo>
                  <a:lnTo>
                    <a:pt x="2753" y="2498"/>
                  </a:lnTo>
                  <a:lnTo>
                    <a:pt x="2764" y="2499"/>
                  </a:lnTo>
                  <a:lnTo>
                    <a:pt x="2764" y="2499"/>
                  </a:lnTo>
                  <a:lnTo>
                    <a:pt x="2772" y="2498"/>
                  </a:lnTo>
                  <a:lnTo>
                    <a:pt x="2780" y="2496"/>
                  </a:lnTo>
                  <a:lnTo>
                    <a:pt x="2788" y="2495"/>
                  </a:lnTo>
                  <a:lnTo>
                    <a:pt x="2794" y="2493"/>
                  </a:lnTo>
                  <a:lnTo>
                    <a:pt x="2801" y="2489"/>
                  </a:lnTo>
                  <a:lnTo>
                    <a:pt x="2808" y="2485"/>
                  </a:lnTo>
                  <a:lnTo>
                    <a:pt x="2815" y="2480"/>
                  </a:lnTo>
                  <a:lnTo>
                    <a:pt x="2821" y="2474"/>
                  </a:lnTo>
                  <a:lnTo>
                    <a:pt x="2821" y="2493"/>
                  </a:lnTo>
                  <a:lnTo>
                    <a:pt x="2882" y="2493"/>
                  </a:lnTo>
                  <a:lnTo>
                    <a:pt x="2882" y="2144"/>
                  </a:lnTo>
                  <a:lnTo>
                    <a:pt x="2821" y="2175"/>
                  </a:lnTo>
                  <a:lnTo>
                    <a:pt x="2821" y="2264"/>
                  </a:lnTo>
                  <a:close/>
                  <a:moveTo>
                    <a:pt x="2778" y="2443"/>
                  </a:moveTo>
                  <a:lnTo>
                    <a:pt x="2778" y="2443"/>
                  </a:lnTo>
                  <a:lnTo>
                    <a:pt x="2769" y="2441"/>
                  </a:lnTo>
                  <a:lnTo>
                    <a:pt x="2762" y="2439"/>
                  </a:lnTo>
                  <a:lnTo>
                    <a:pt x="2753" y="2435"/>
                  </a:lnTo>
                  <a:lnTo>
                    <a:pt x="2746" y="2428"/>
                  </a:lnTo>
                  <a:lnTo>
                    <a:pt x="2740" y="2418"/>
                  </a:lnTo>
                  <a:lnTo>
                    <a:pt x="2735" y="2405"/>
                  </a:lnTo>
                  <a:lnTo>
                    <a:pt x="2732" y="2387"/>
                  </a:lnTo>
                  <a:lnTo>
                    <a:pt x="2731" y="2365"/>
                  </a:lnTo>
                  <a:lnTo>
                    <a:pt x="2731" y="2365"/>
                  </a:lnTo>
                  <a:lnTo>
                    <a:pt x="2732" y="2347"/>
                  </a:lnTo>
                  <a:lnTo>
                    <a:pt x="2735" y="2331"/>
                  </a:lnTo>
                  <a:lnTo>
                    <a:pt x="2740" y="2319"/>
                  </a:lnTo>
                  <a:lnTo>
                    <a:pt x="2746" y="2310"/>
                  </a:lnTo>
                  <a:lnTo>
                    <a:pt x="2753" y="2304"/>
                  </a:lnTo>
                  <a:lnTo>
                    <a:pt x="2761" y="2299"/>
                  </a:lnTo>
                  <a:lnTo>
                    <a:pt x="2769" y="2298"/>
                  </a:lnTo>
                  <a:lnTo>
                    <a:pt x="2777" y="2297"/>
                  </a:lnTo>
                  <a:lnTo>
                    <a:pt x="2777" y="2297"/>
                  </a:lnTo>
                  <a:lnTo>
                    <a:pt x="2785" y="2298"/>
                  </a:lnTo>
                  <a:lnTo>
                    <a:pt x="2793" y="2299"/>
                  </a:lnTo>
                  <a:lnTo>
                    <a:pt x="2799" y="2302"/>
                  </a:lnTo>
                  <a:lnTo>
                    <a:pt x="2805" y="2306"/>
                  </a:lnTo>
                  <a:lnTo>
                    <a:pt x="2810" y="2309"/>
                  </a:lnTo>
                  <a:lnTo>
                    <a:pt x="2815" y="2313"/>
                  </a:lnTo>
                  <a:lnTo>
                    <a:pt x="2821" y="2321"/>
                  </a:lnTo>
                  <a:lnTo>
                    <a:pt x="2821" y="2418"/>
                  </a:lnTo>
                  <a:lnTo>
                    <a:pt x="2821" y="2418"/>
                  </a:lnTo>
                  <a:lnTo>
                    <a:pt x="2813" y="2427"/>
                  </a:lnTo>
                  <a:lnTo>
                    <a:pt x="2805" y="2434"/>
                  </a:lnTo>
                  <a:lnTo>
                    <a:pt x="2799" y="2438"/>
                  </a:lnTo>
                  <a:lnTo>
                    <a:pt x="2793" y="2440"/>
                  </a:lnTo>
                  <a:lnTo>
                    <a:pt x="2785" y="2441"/>
                  </a:lnTo>
                  <a:lnTo>
                    <a:pt x="2778" y="2443"/>
                  </a:lnTo>
                  <a:lnTo>
                    <a:pt x="2778" y="2443"/>
                  </a:lnTo>
                  <a:close/>
                  <a:moveTo>
                    <a:pt x="747" y="2315"/>
                  </a:moveTo>
                  <a:lnTo>
                    <a:pt x="747" y="2315"/>
                  </a:lnTo>
                  <a:lnTo>
                    <a:pt x="738" y="2310"/>
                  </a:lnTo>
                  <a:lnTo>
                    <a:pt x="728" y="2306"/>
                  </a:lnTo>
                  <a:lnTo>
                    <a:pt x="717" y="2303"/>
                  </a:lnTo>
                  <a:lnTo>
                    <a:pt x="706" y="2302"/>
                  </a:lnTo>
                  <a:lnTo>
                    <a:pt x="706" y="2302"/>
                  </a:lnTo>
                  <a:lnTo>
                    <a:pt x="696" y="2303"/>
                  </a:lnTo>
                  <a:lnTo>
                    <a:pt x="686" y="2306"/>
                  </a:lnTo>
                  <a:lnTo>
                    <a:pt x="679" y="2310"/>
                  </a:lnTo>
                  <a:lnTo>
                    <a:pt x="673" y="2317"/>
                  </a:lnTo>
                  <a:lnTo>
                    <a:pt x="668" y="2324"/>
                  </a:lnTo>
                  <a:lnTo>
                    <a:pt x="666" y="2334"/>
                  </a:lnTo>
                  <a:lnTo>
                    <a:pt x="663" y="2346"/>
                  </a:lnTo>
                  <a:lnTo>
                    <a:pt x="662" y="2359"/>
                  </a:lnTo>
                  <a:lnTo>
                    <a:pt x="662" y="2493"/>
                  </a:lnTo>
                  <a:lnTo>
                    <a:pt x="602" y="2493"/>
                  </a:lnTo>
                  <a:lnTo>
                    <a:pt x="602" y="2247"/>
                  </a:lnTo>
                  <a:lnTo>
                    <a:pt x="662" y="2247"/>
                  </a:lnTo>
                  <a:lnTo>
                    <a:pt x="662" y="2268"/>
                  </a:lnTo>
                  <a:lnTo>
                    <a:pt x="662" y="2268"/>
                  </a:lnTo>
                  <a:lnTo>
                    <a:pt x="668" y="2261"/>
                  </a:lnTo>
                  <a:lnTo>
                    <a:pt x="674" y="2255"/>
                  </a:lnTo>
                  <a:lnTo>
                    <a:pt x="680" y="2252"/>
                  </a:lnTo>
                  <a:lnTo>
                    <a:pt x="688" y="2248"/>
                  </a:lnTo>
                  <a:lnTo>
                    <a:pt x="694" y="2244"/>
                  </a:lnTo>
                  <a:lnTo>
                    <a:pt x="701" y="2243"/>
                  </a:lnTo>
                  <a:lnTo>
                    <a:pt x="710" y="2242"/>
                  </a:lnTo>
                  <a:lnTo>
                    <a:pt x="717" y="2241"/>
                  </a:lnTo>
                  <a:lnTo>
                    <a:pt x="717" y="2241"/>
                  </a:lnTo>
                  <a:lnTo>
                    <a:pt x="729" y="2242"/>
                  </a:lnTo>
                  <a:lnTo>
                    <a:pt x="742" y="2246"/>
                  </a:lnTo>
                  <a:lnTo>
                    <a:pt x="754" y="2250"/>
                  </a:lnTo>
                  <a:lnTo>
                    <a:pt x="764" y="2257"/>
                  </a:lnTo>
                  <a:lnTo>
                    <a:pt x="747" y="2315"/>
                  </a:lnTo>
                  <a:close/>
                  <a:moveTo>
                    <a:pt x="267" y="2247"/>
                  </a:moveTo>
                  <a:lnTo>
                    <a:pt x="327" y="2247"/>
                  </a:lnTo>
                  <a:lnTo>
                    <a:pt x="257" y="2493"/>
                  </a:lnTo>
                  <a:lnTo>
                    <a:pt x="205" y="2493"/>
                  </a:lnTo>
                  <a:lnTo>
                    <a:pt x="178" y="2391"/>
                  </a:lnTo>
                  <a:lnTo>
                    <a:pt x="178" y="2391"/>
                  </a:lnTo>
                  <a:lnTo>
                    <a:pt x="164" y="2337"/>
                  </a:lnTo>
                  <a:lnTo>
                    <a:pt x="164" y="2337"/>
                  </a:lnTo>
                  <a:lnTo>
                    <a:pt x="158" y="2363"/>
                  </a:lnTo>
                  <a:lnTo>
                    <a:pt x="151" y="2392"/>
                  </a:lnTo>
                  <a:lnTo>
                    <a:pt x="123" y="2493"/>
                  </a:lnTo>
                  <a:lnTo>
                    <a:pt x="70" y="2493"/>
                  </a:lnTo>
                  <a:lnTo>
                    <a:pt x="70" y="2491"/>
                  </a:lnTo>
                  <a:lnTo>
                    <a:pt x="0" y="2247"/>
                  </a:lnTo>
                  <a:lnTo>
                    <a:pt x="64" y="2247"/>
                  </a:lnTo>
                  <a:lnTo>
                    <a:pt x="86" y="2339"/>
                  </a:lnTo>
                  <a:lnTo>
                    <a:pt x="86" y="2339"/>
                  </a:lnTo>
                  <a:lnTo>
                    <a:pt x="92" y="2368"/>
                  </a:lnTo>
                  <a:lnTo>
                    <a:pt x="98" y="2398"/>
                  </a:lnTo>
                  <a:lnTo>
                    <a:pt x="98" y="2398"/>
                  </a:lnTo>
                  <a:lnTo>
                    <a:pt x="105" y="2368"/>
                  </a:lnTo>
                  <a:lnTo>
                    <a:pt x="113" y="2337"/>
                  </a:lnTo>
                  <a:lnTo>
                    <a:pt x="139" y="2247"/>
                  </a:lnTo>
                  <a:lnTo>
                    <a:pt x="191" y="2247"/>
                  </a:lnTo>
                  <a:lnTo>
                    <a:pt x="217" y="2337"/>
                  </a:lnTo>
                  <a:lnTo>
                    <a:pt x="217" y="2337"/>
                  </a:lnTo>
                  <a:lnTo>
                    <a:pt x="224" y="2367"/>
                  </a:lnTo>
                  <a:lnTo>
                    <a:pt x="232" y="2400"/>
                  </a:lnTo>
                  <a:lnTo>
                    <a:pt x="232" y="2400"/>
                  </a:lnTo>
                  <a:lnTo>
                    <a:pt x="237" y="2372"/>
                  </a:lnTo>
                  <a:lnTo>
                    <a:pt x="244" y="2337"/>
                  </a:lnTo>
                  <a:lnTo>
                    <a:pt x="267" y="2247"/>
                  </a:lnTo>
                  <a:close/>
                  <a:moveTo>
                    <a:pt x="451" y="2241"/>
                  </a:moveTo>
                  <a:lnTo>
                    <a:pt x="451" y="2241"/>
                  </a:lnTo>
                  <a:lnTo>
                    <a:pt x="440" y="2242"/>
                  </a:lnTo>
                  <a:lnTo>
                    <a:pt x="428" y="2243"/>
                  </a:lnTo>
                  <a:lnTo>
                    <a:pt x="417" y="2247"/>
                  </a:lnTo>
                  <a:lnTo>
                    <a:pt x="407" y="2250"/>
                  </a:lnTo>
                  <a:lnTo>
                    <a:pt x="397" y="2255"/>
                  </a:lnTo>
                  <a:lnTo>
                    <a:pt x="387" y="2261"/>
                  </a:lnTo>
                  <a:lnTo>
                    <a:pt x="379" y="2269"/>
                  </a:lnTo>
                  <a:lnTo>
                    <a:pt x="371" y="2277"/>
                  </a:lnTo>
                  <a:lnTo>
                    <a:pt x="364" y="2286"/>
                  </a:lnTo>
                  <a:lnTo>
                    <a:pt x="358" y="2296"/>
                  </a:lnTo>
                  <a:lnTo>
                    <a:pt x="352" y="2307"/>
                  </a:lnTo>
                  <a:lnTo>
                    <a:pt x="348" y="2318"/>
                  </a:lnTo>
                  <a:lnTo>
                    <a:pt x="344" y="2330"/>
                  </a:lnTo>
                  <a:lnTo>
                    <a:pt x="342" y="2342"/>
                  </a:lnTo>
                  <a:lnTo>
                    <a:pt x="340" y="2356"/>
                  </a:lnTo>
                  <a:lnTo>
                    <a:pt x="340" y="2370"/>
                  </a:lnTo>
                  <a:lnTo>
                    <a:pt x="340" y="2370"/>
                  </a:lnTo>
                  <a:lnTo>
                    <a:pt x="340" y="2384"/>
                  </a:lnTo>
                  <a:lnTo>
                    <a:pt x="342" y="2397"/>
                  </a:lnTo>
                  <a:lnTo>
                    <a:pt x="344" y="2410"/>
                  </a:lnTo>
                  <a:lnTo>
                    <a:pt x="348" y="2422"/>
                  </a:lnTo>
                  <a:lnTo>
                    <a:pt x="352" y="2433"/>
                  </a:lnTo>
                  <a:lnTo>
                    <a:pt x="358" y="2444"/>
                  </a:lnTo>
                  <a:lnTo>
                    <a:pt x="364" y="2454"/>
                  </a:lnTo>
                  <a:lnTo>
                    <a:pt x="371" y="2462"/>
                  </a:lnTo>
                  <a:lnTo>
                    <a:pt x="379" y="2471"/>
                  </a:lnTo>
                  <a:lnTo>
                    <a:pt x="387" y="2478"/>
                  </a:lnTo>
                  <a:lnTo>
                    <a:pt x="397" y="2484"/>
                  </a:lnTo>
                  <a:lnTo>
                    <a:pt x="407" y="2489"/>
                  </a:lnTo>
                  <a:lnTo>
                    <a:pt x="417" y="2493"/>
                  </a:lnTo>
                  <a:lnTo>
                    <a:pt x="428" y="2496"/>
                  </a:lnTo>
                  <a:lnTo>
                    <a:pt x="440" y="2498"/>
                  </a:lnTo>
                  <a:lnTo>
                    <a:pt x="451" y="2499"/>
                  </a:lnTo>
                  <a:lnTo>
                    <a:pt x="451" y="2499"/>
                  </a:lnTo>
                  <a:lnTo>
                    <a:pt x="463" y="2498"/>
                  </a:lnTo>
                  <a:lnTo>
                    <a:pt x="476" y="2496"/>
                  </a:lnTo>
                  <a:lnTo>
                    <a:pt x="487" y="2493"/>
                  </a:lnTo>
                  <a:lnTo>
                    <a:pt x="496" y="2489"/>
                  </a:lnTo>
                  <a:lnTo>
                    <a:pt x="506" y="2484"/>
                  </a:lnTo>
                  <a:lnTo>
                    <a:pt x="516" y="2478"/>
                  </a:lnTo>
                  <a:lnTo>
                    <a:pt x="525" y="2471"/>
                  </a:lnTo>
                  <a:lnTo>
                    <a:pt x="532" y="2462"/>
                  </a:lnTo>
                  <a:lnTo>
                    <a:pt x="539" y="2454"/>
                  </a:lnTo>
                  <a:lnTo>
                    <a:pt x="546" y="2444"/>
                  </a:lnTo>
                  <a:lnTo>
                    <a:pt x="550" y="2433"/>
                  </a:lnTo>
                  <a:lnTo>
                    <a:pt x="555" y="2422"/>
                  </a:lnTo>
                  <a:lnTo>
                    <a:pt x="559" y="2410"/>
                  </a:lnTo>
                  <a:lnTo>
                    <a:pt x="561" y="2397"/>
                  </a:lnTo>
                  <a:lnTo>
                    <a:pt x="564" y="2384"/>
                  </a:lnTo>
                  <a:lnTo>
                    <a:pt x="564" y="2370"/>
                  </a:lnTo>
                  <a:lnTo>
                    <a:pt x="564" y="2370"/>
                  </a:lnTo>
                  <a:lnTo>
                    <a:pt x="564" y="2356"/>
                  </a:lnTo>
                  <a:lnTo>
                    <a:pt x="561" y="2342"/>
                  </a:lnTo>
                  <a:lnTo>
                    <a:pt x="559" y="2330"/>
                  </a:lnTo>
                  <a:lnTo>
                    <a:pt x="555" y="2318"/>
                  </a:lnTo>
                  <a:lnTo>
                    <a:pt x="550" y="2307"/>
                  </a:lnTo>
                  <a:lnTo>
                    <a:pt x="546" y="2296"/>
                  </a:lnTo>
                  <a:lnTo>
                    <a:pt x="539" y="2286"/>
                  </a:lnTo>
                  <a:lnTo>
                    <a:pt x="532" y="2277"/>
                  </a:lnTo>
                  <a:lnTo>
                    <a:pt x="525" y="2269"/>
                  </a:lnTo>
                  <a:lnTo>
                    <a:pt x="516" y="2261"/>
                  </a:lnTo>
                  <a:lnTo>
                    <a:pt x="506" y="2255"/>
                  </a:lnTo>
                  <a:lnTo>
                    <a:pt x="496" y="2250"/>
                  </a:lnTo>
                  <a:lnTo>
                    <a:pt x="487" y="2247"/>
                  </a:lnTo>
                  <a:lnTo>
                    <a:pt x="476" y="2243"/>
                  </a:lnTo>
                  <a:lnTo>
                    <a:pt x="463" y="2242"/>
                  </a:lnTo>
                  <a:lnTo>
                    <a:pt x="451" y="2241"/>
                  </a:lnTo>
                  <a:lnTo>
                    <a:pt x="451" y="2241"/>
                  </a:lnTo>
                  <a:close/>
                  <a:moveTo>
                    <a:pt x="451" y="2441"/>
                  </a:moveTo>
                  <a:lnTo>
                    <a:pt x="451" y="2441"/>
                  </a:lnTo>
                  <a:lnTo>
                    <a:pt x="440" y="2440"/>
                  </a:lnTo>
                  <a:lnTo>
                    <a:pt x="430" y="2436"/>
                  </a:lnTo>
                  <a:lnTo>
                    <a:pt x="423" y="2430"/>
                  </a:lnTo>
                  <a:lnTo>
                    <a:pt x="416" y="2422"/>
                  </a:lnTo>
                  <a:lnTo>
                    <a:pt x="409" y="2412"/>
                  </a:lnTo>
                  <a:lnTo>
                    <a:pt x="405" y="2400"/>
                  </a:lnTo>
                  <a:lnTo>
                    <a:pt x="402" y="2385"/>
                  </a:lnTo>
                  <a:lnTo>
                    <a:pt x="402" y="2370"/>
                  </a:lnTo>
                  <a:lnTo>
                    <a:pt x="402" y="2370"/>
                  </a:lnTo>
                  <a:lnTo>
                    <a:pt x="402" y="2354"/>
                  </a:lnTo>
                  <a:lnTo>
                    <a:pt x="405" y="2340"/>
                  </a:lnTo>
                  <a:lnTo>
                    <a:pt x="409" y="2329"/>
                  </a:lnTo>
                  <a:lnTo>
                    <a:pt x="416" y="2318"/>
                  </a:lnTo>
                  <a:lnTo>
                    <a:pt x="423" y="2309"/>
                  </a:lnTo>
                  <a:lnTo>
                    <a:pt x="430" y="2303"/>
                  </a:lnTo>
                  <a:lnTo>
                    <a:pt x="440" y="2299"/>
                  </a:lnTo>
                  <a:lnTo>
                    <a:pt x="451" y="2298"/>
                  </a:lnTo>
                  <a:lnTo>
                    <a:pt x="451" y="2298"/>
                  </a:lnTo>
                  <a:lnTo>
                    <a:pt x="462" y="2299"/>
                  </a:lnTo>
                  <a:lnTo>
                    <a:pt x="472" y="2303"/>
                  </a:lnTo>
                  <a:lnTo>
                    <a:pt x="481" y="2309"/>
                  </a:lnTo>
                  <a:lnTo>
                    <a:pt x="488" y="2318"/>
                  </a:lnTo>
                  <a:lnTo>
                    <a:pt x="494" y="2329"/>
                  </a:lnTo>
                  <a:lnTo>
                    <a:pt x="498" y="2340"/>
                  </a:lnTo>
                  <a:lnTo>
                    <a:pt x="500" y="2354"/>
                  </a:lnTo>
                  <a:lnTo>
                    <a:pt x="501" y="2370"/>
                  </a:lnTo>
                  <a:lnTo>
                    <a:pt x="501" y="2370"/>
                  </a:lnTo>
                  <a:lnTo>
                    <a:pt x="500" y="2385"/>
                  </a:lnTo>
                  <a:lnTo>
                    <a:pt x="498" y="2400"/>
                  </a:lnTo>
                  <a:lnTo>
                    <a:pt x="494" y="2412"/>
                  </a:lnTo>
                  <a:lnTo>
                    <a:pt x="488" y="2422"/>
                  </a:lnTo>
                  <a:lnTo>
                    <a:pt x="481" y="2430"/>
                  </a:lnTo>
                  <a:lnTo>
                    <a:pt x="472" y="2436"/>
                  </a:lnTo>
                  <a:lnTo>
                    <a:pt x="462" y="2440"/>
                  </a:lnTo>
                  <a:lnTo>
                    <a:pt x="451" y="2441"/>
                  </a:lnTo>
                  <a:lnTo>
                    <a:pt x="451" y="2441"/>
                  </a:lnTo>
                  <a:close/>
                  <a:moveTo>
                    <a:pt x="2520" y="2315"/>
                  </a:moveTo>
                  <a:lnTo>
                    <a:pt x="2520" y="2315"/>
                  </a:lnTo>
                  <a:lnTo>
                    <a:pt x="2511" y="2310"/>
                  </a:lnTo>
                  <a:lnTo>
                    <a:pt x="2501" y="2306"/>
                  </a:lnTo>
                  <a:lnTo>
                    <a:pt x="2490" y="2303"/>
                  </a:lnTo>
                  <a:lnTo>
                    <a:pt x="2480" y="2302"/>
                  </a:lnTo>
                  <a:lnTo>
                    <a:pt x="2480" y="2302"/>
                  </a:lnTo>
                  <a:lnTo>
                    <a:pt x="2469" y="2303"/>
                  </a:lnTo>
                  <a:lnTo>
                    <a:pt x="2460" y="2306"/>
                  </a:lnTo>
                  <a:lnTo>
                    <a:pt x="2453" y="2310"/>
                  </a:lnTo>
                  <a:lnTo>
                    <a:pt x="2447" y="2317"/>
                  </a:lnTo>
                  <a:lnTo>
                    <a:pt x="2442" y="2324"/>
                  </a:lnTo>
                  <a:lnTo>
                    <a:pt x="2438" y="2334"/>
                  </a:lnTo>
                  <a:lnTo>
                    <a:pt x="2436" y="2346"/>
                  </a:lnTo>
                  <a:lnTo>
                    <a:pt x="2436" y="2359"/>
                  </a:lnTo>
                  <a:lnTo>
                    <a:pt x="2436" y="2493"/>
                  </a:lnTo>
                  <a:lnTo>
                    <a:pt x="2375" y="2493"/>
                  </a:lnTo>
                  <a:lnTo>
                    <a:pt x="2375" y="2247"/>
                  </a:lnTo>
                  <a:lnTo>
                    <a:pt x="2436" y="2247"/>
                  </a:lnTo>
                  <a:lnTo>
                    <a:pt x="2436" y="2268"/>
                  </a:lnTo>
                  <a:lnTo>
                    <a:pt x="2436" y="2268"/>
                  </a:lnTo>
                  <a:lnTo>
                    <a:pt x="2441" y="2261"/>
                  </a:lnTo>
                  <a:lnTo>
                    <a:pt x="2447" y="2255"/>
                  </a:lnTo>
                  <a:lnTo>
                    <a:pt x="2453" y="2252"/>
                  </a:lnTo>
                  <a:lnTo>
                    <a:pt x="2460" y="2248"/>
                  </a:lnTo>
                  <a:lnTo>
                    <a:pt x="2468" y="2244"/>
                  </a:lnTo>
                  <a:lnTo>
                    <a:pt x="2475" y="2243"/>
                  </a:lnTo>
                  <a:lnTo>
                    <a:pt x="2482" y="2242"/>
                  </a:lnTo>
                  <a:lnTo>
                    <a:pt x="2490" y="2241"/>
                  </a:lnTo>
                  <a:lnTo>
                    <a:pt x="2490" y="2241"/>
                  </a:lnTo>
                  <a:lnTo>
                    <a:pt x="2502" y="2242"/>
                  </a:lnTo>
                  <a:lnTo>
                    <a:pt x="2514" y="2246"/>
                  </a:lnTo>
                  <a:lnTo>
                    <a:pt x="2527" y="2250"/>
                  </a:lnTo>
                  <a:lnTo>
                    <a:pt x="2536" y="2257"/>
                  </a:lnTo>
                  <a:lnTo>
                    <a:pt x="2520" y="2315"/>
                  </a:lnTo>
                  <a:close/>
                  <a:moveTo>
                    <a:pt x="2040" y="2247"/>
                  </a:moveTo>
                  <a:lnTo>
                    <a:pt x="2100" y="2247"/>
                  </a:lnTo>
                  <a:lnTo>
                    <a:pt x="2030" y="2493"/>
                  </a:lnTo>
                  <a:lnTo>
                    <a:pt x="1977" y="2493"/>
                  </a:lnTo>
                  <a:lnTo>
                    <a:pt x="1950" y="2391"/>
                  </a:lnTo>
                  <a:lnTo>
                    <a:pt x="1950" y="2391"/>
                  </a:lnTo>
                  <a:lnTo>
                    <a:pt x="1937" y="2337"/>
                  </a:lnTo>
                  <a:lnTo>
                    <a:pt x="1937" y="2337"/>
                  </a:lnTo>
                  <a:lnTo>
                    <a:pt x="1931" y="2363"/>
                  </a:lnTo>
                  <a:lnTo>
                    <a:pt x="1923" y="2392"/>
                  </a:lnTo>
                  <a:lnTo>
                    <a:pt x="1896" y="2493"/>
                  </a:lnTo>
                  <a:lnTo>
                    <a:pt x="1844" y="2493"/>
                  </a:lnTo>
                  <a:lnTo>
                    <a:pt x="1842" y="2491"/>
                  </a:lnTo>
                  <a:lnTo>
                    <a:pt x="1774" y="2247"/>
                  </a:lnTo>
                  <a:lnTo>
                    <a:pt x="1836" y="2247"/>
                  </a:lnTo>
                  <a:lnTo>
                    <a:pt x="1860" y="2339"/>
                  </a:lnTo>
                  <a:lnTo>
                    <a:pt x="1860" y="2339"/>
                  </a:lnTo>
                  <a:lnTo>
                    <a:pt x="1866" y="2368"/>
                  </a:lnTo>
                  <a:lnTo>
                    <a:pt x="1872" y="2398"/>
                  </a:lnTo>
                  <a:lnTo>
                    <a:pt x="1872" y="2398"/>
                  </a:lnTo>
                  <a:lnTo>
                    <a:pt x="1878" y="2368"/>
                  </a:lnTo>
                  <a:lnTo>
                    <a:pt x="1887" y="2337"/>
                  </a:lnTo>
                  <a:lnTo>
                    <a:pt x="1912" y="2247"/>
                  </a:lnTo>
                  <a:lnTo>
                    <a:pt x="1964" y="2247"/>
                  </a:lnTo>
                  <a:lnTo>
                    <a:pt x="1990" y="2337"/>
                  </a:lnTo>
                  <a:lnTo>
                    <a:pt x="1990" y="2337"/>
                  </a:lnTo>
                  <a:lnTo>
                    <a:pt x="1997" y="2367"/>
                  </a:lnTo>
                  <a:lnTo>
                    <a:pt x="2004" y="2400"/>
                  </a:lnTo>
                  <a:lnTo>
                    <a:pt x="2004" y="2400"/>
                  </a:lnTo>
                  <a:lnTo>
                    <a:pt x="2010" y="2372"/>
                  </a:lnTo>
                  <a:lnTo>
                    <a:pt x="2018" y="2337"/>
                  </a:lnTo>
                  <a:lnTo>
                    <a:pt x="2040" y="2247"/>
                  </a:lnTo>
                  <a:close/>
                  <a:moveTo>
                    <a:pt x="2224" y="2241"/>
                  </a:moveTo>
                  <a:lnTo>
                    <a:pt x="2224" y="2241"/>
                  </a:lnTo>
                  <a:lnTo>
                    <a:pt x="2213" y="2242"/>
                  </a:lnTo>
                  <a:lnTo>
                    <a:pt x="2200" y="2243"/>
                  </a:lnTo>
                  <a:lnTo>
                    <a:pt x="2189" y="2247"/>
                  </a:lnTo>
                  <a:lnTo>
                    <a:pt x="2180" y="2250"/>
                  </a:lnTo>
                  <a:lnTo>
                    <a:pt x="2170" y="2255"/>
                  </a:lnTo>
                  <a:lnTo>
                    <a:pt x="2160" y="2263"/>
                  </a:lnTo>
                  <a:lnTo>
                    <a:pt x="2151" y="2269"/>
                  </a:lnTo>
                  <a:lnTo>
                    <a:pt x="2144" y="2277"/>
                  </a:lnTo>
                  <a:lnTo>
                    <a:pt x="2137" y="2286"/>
                  </a:lnTo>
                  <a:lnTo>
                    <a:pt x="2131" y="2296"/>
                  </a:lnTo>
                  <a:lnTo>
                    <a:pt x="2124" y="2307"/>
                  </a:lnTo>
                  <a:lnTo>
                    <a:pt x="2121" y="2318"/>
                  </a:lnTo>
                  <a:lnTo>
                    <a:pt x="2117" y="2330"/>
                  </a:lnTo>
                  <a:lnTo>
                    <a:pt x="2113" y="2343"/>
                  </a:lnTo>
                  <a:lnTo>
                    <a:pt x="2112" y="2356"/>
                  </a:lnTo>
                  <a:lnTo>
                    <a:pt x="2112" y="2370"/>
                  </a:lnTo>
                  <a:lnTo>
                    <a:pt x="2112" y="2370"/>
                  </a:lnTo>
                  <a:lnTo>
                    <a:pt x="2112" y="2384"/>
                  </a:lnTo>
                  <a:lnTo>
                    <a:pt x="2113" y="2397"/>
                  </a:lnTo>
                  <a:lnTo>
                    <a:pt x="2117" y="2410"/>
                  </a:lnTo>
                  <a:lnTo>
                    <a:pt x="2121" y="2422"/>
                  </a:lnTo>
                  <a:lnTo>
                    <a:pt x="2124" y="2433"/>
                  </a:lnTo>
                  <a:lnTo>
                    <a:pt x="2131" y="2444"/>
                  </a:lnTo>
                  <a:lnTo>
                    <a:pt x="2137" y="2454"/>
                  </a:lnTo>
                  <a:lnTo>
                    <a:pt x="2144" y="2462"/>
                  </a:lnTo>
                  <a:lnTo>
                    <a:pt x="2151" y="2471"/>
                  </a:lnTo>
                  <a:lnTo>
                    <a:pt x="2160" y="2478"/>
                  </a:lnTo>
                  <a:lnTo>
                    <a:pt x="2170" y="2484"/>
                  </a:lnTo>
                  <a:lnTo>
                    <a:pt x="2180" y="2489"/>
                  </a:lnTo>
                  <a:lnTo>
                    <a:pt x="2189" y="2493"/>
                  </a:lnTo>
                  <a:lnTo>
                    <a:pt x="2200" y="2496"/>
                  </a:lnTo>
                  <a:lnTo>
                    <a:pt x="2213" y="2498"/>
                  </a:lnTo>
                  <a:lnTo>
                    <a:pt x="2224" y="2499"/>
                  </a:lnTo>
                  <a:lnTo>
                    <a:pt x="2224" y="2499"/>
                  </a:lnTo>
                  <a:lnTo>
                    <a:pt x="2236" y="2498"/>
                  </a:lnTo>
                  <a:lnTo>
                    <a:pt x="2248" y="2496"/>
                  </a:lnTo>
                  <a:lnTo>
                    <a:pt x="2259" y="2493"/>
                  </a:lnTo>
                  <a:lnTo>
                    <a:pt x="2269" y="2489"/>
                  </a:lnTo>
                  <a:lnTo>
                    <a:pt x="2279" y="2484"/>
                  </a:lnTo>
                  <a:lnTo>
                    <a:pt x="2289" y="2478"/>
                  </a:lnTo>
                  <a:lnTo>
                    <a:pt x="2297" y="2471"/>
                  </a:lnTo>
                  <a:lnTo>
                    <a:pt x="2305" y="2462"/>
                  </a:lnTo>
                  <a:lnTo>
                    <a:pt x="2312" y="2454"/>
                  </a:lnTo>
                  <a:lnTo>
                    <a:pt x="2318" y="2444"/>
                  </a:lnTo>
                  <a:lnTo>
                    <a:pt x="2323" y="2433"/>
                  </a:lnTo>
                  <a:lnTo>
                    <a:pt x="2328" y="2422"/>
                  </a:lnTo>
                  <a:lnTo>
                    <a:pt x="2332" y="2410"/>
                  </a:lnTo>
                  <a:lnTo>
                    <a:pt x="2334" y="2397"/>
                  </a:lnTo>
                  <a:lnTo>
                    <a:pt x="2337" y="2384"/>
                  </a:lnTo>
                  <a:lnTo>
                    <a:pt x="2337" y="2370"/>
                  </a:lnTo>
                  <a:lnTo>
                    <a:pt x="2337" y="2370"/>
                  </a:lnTo>
                  <a:lnTo>
                    <a:pt x="2337" y="2356"/>
                  </a:lnTo>
                  <a:lnTo>
                    <a:pt x="2334" y="2343"/>
                  </a:lnTo>
                  <a:lnTo>
                    <a:pt x="2332" y="2330"/>
                  </a:lnTo>
                  <a:lnTo>
                    <a:pt x="2328" y="2318"/>
                  </a:lnTo>
                  <a:lnTo>
                    <a:pt x="2323" y="2307"/>
                  </a:lnTo>
                  <a:lnTo>
                    <a:pt x="2318" y="2296"/>
                  </a:lnTo>
                  <a:lnTo>
                    <a:pt x="2312" y="2286"/>
                  </a:lnTo>
                  <a:lnTo>
                    <a:pt x="2305" y="2277"/>
                  </a:lnTo>
                  <a:lnTo>
                    <a:pt x="2297" y="2269"/>
                  </a:lnTo>
                  <a:lnTo>
                    <a:pt x="2289" y="2263"/>
                  </a:lnTo>
                  <a:lnTo>
                    <a:pt x="2279" y="2255"/>
                  </a:lnTo>
                  <a:lnTo>
                    <a:pt x="2269" y="2250"/>
                  </a:lnTo>
                  <a:lnTo>
                    <a:pt x="2259" y="2247"/>
                  </a:lnTo>
                  <a:lnTo>
                    <a:pt x="2248" y="2243"/>
                  </a:lnTo>
                  <a:lnTo>
                    <a:pt x="2236" y="2242"/>
                  </a:lnTo>
                  <a:lnTo>
                    <a:pt x="2224" y="2241"/>
                  </a:lnTo>
                  <a:lnTo>
                    <a:pt x="2224" y="2241"/>
                  </a:lnTo>
                  <a:close/>
                  <a:moveTo>
                    <a:pt x="2224" y="2441"/>
                  </a:moveTo>
                  <a:lnTo>
                    <a:pt x="2224" y="2441"/>
                  </a:lnTo>
                  <a:lnTo>
                    <a:pt x="2213" y="2440"/>
                  </a:lnTo>
                  <a:lnTo>
                    <a:pt x="2204" y="2436"/>
                  </a:lnTo>
                  <a:lnTo>
                    <a:pt x="2196" y="2430"/>
                  </a:lnTo>
                  <a:lnTo>
                    <a:pt x="2188" y="2422"/>
                  </a:lnTo>
                  <a:lnTo>
                    <a:pt x="2182" y="2412"/>
                  </a:lnTo>
                  <a:lnTo>
                    <a:pt x="2177" y="2400"/>
                  </a:lnTo>
                  <a:lnTo>
                    <a:pt x="2175" y="2385"/>
                  </a:lnTo>
                  <a:lnTo>
                    <a:pt x="2175" y="2370"/>
                  </a:lnTo>
                  <a:lnTo>
                    <a:pt x="2175" y="2370"/>
                  </a:lnTo>
                  <a:lnTo>
                    <a:pt x="2175" y="2354"/>
                  </a:lnTo>
                  <a:lnTo>
                    <a:pt x="2177" y="2341"/>
                  </a:lnTo>
                  <a:lnTo>
                    <a:pt x="2182" y="2329"/>
                  </a:lnTo>
                  <a:lnTo>
                    <a:pt x="2188" y="2318"/>
                  </a:lnTo>
                  <a:lnTo>
                    <a:pt x="2196" y="2309"/>
                  </a:lnTo>
                  <a:lnTo>
                    <a:pt x="2204" y="2303"/>
                  </a:lnTo>
                  <a:lnTo>
                    <a:pt x="2213" y="2299"/>
                  </a:lnTo>
                  <a:lnTo>
                    <a:pt x="2224" y="2298"/>
                  </a:lnTo>
                  <a:lnTo>
                    <a:pt x="2224" y="2298"/>
                  </a:lnTo>
                  <a:lnTo>
                    <a:pt x="2235" y="2299"/>
                  </a:lnTo>
                  <a:lnTo>
                    <a:pt x="2245" y="2303"/>
                  </a:lnTo>
                  <a:lnTo>
                    <a:pt x="2253" y="2309"/>
                  </a:lnTo>
                  <a:lnTo>
                    <a:pt x="2261" y="2318"/>
                  </a:lnTo>
                  <a:lnTo>
                    <a:pt x="2267" y="2329"/>
                  </a:lnTo>
                  <a:lnTo>
                    <a:pt x="2270" y="2341"/>
                  </a:lnTo>
                  <a:lnTo>
                    <a:pt x="2273" y="2354"/>
                  </a:lnTo>
                  <a:lnTo>
                    <a:pt x="2274" y="2370"/>
                  </a:lnTo>
                  <a:lnTo>
                    <a:pt x="2274" y="2370"/>
                  </a:lnTo>
                  <a:lnTo>
                    <a:pt x="2273" y="2385"/>
                  </a:lnTo>
                  <a:lnTo>
                    <a:pt x="2270" y="2400"/>
                  </a:lnTo>
                  <a:lnTo>
                    <a:pt x="2267" y="2412"/>
                  </a:lnTo>
                  <a:lnTo>
                    <a:pt x="2261" y="2422"/>
                  </a:lnTo>
                  <a:lnTo>
                    <a:pt x="2253" y="2430"/>
                  </a:lnTo>
                  <a:lnTo>
                    <a:pt x="2245" y="2436"/>
                  </a:lnTo>
                  <a:lnTo>
                    <a:pt x="2235" y="2440"/>
                  </a:lnTo>
                  <a:lnTo>
                    <a:pt x="2224" y="2441"/>
                  </a:lnTo>
                  <a:lnTo>
                    <a:pt x="2224" y="2441"/>
                  </a:lnTo>
                  <a:close/>
                  <a:moveTo>
                    <a:pt x="929" y="2328"/>
                  </a:moveTo>
                  <a:lnTo>
                    <a:pt x="1004" y="2493"/>
                  </a:lnTo>
                  <a:lnTo>
                    <a:pt x="937" y="2493"/>
                  </a:lnTo>
                  <a:lnTo>
                    <a:pt x="885" y="2379"/>
                  </a:lnTo>
                  <a:lnTo>
                    <a:pt x="852" y="2419"/>
                  </a:lnTo>
                  <a:lnTo>
                    <a:pt x="852" y="2493"/>
                  </a:lnTo>
                  <a:lnTo>
                    <a:pt x="792" y="2493"/>
                  </a:lnTo>
                  <a:lnTo>
                    <a:pt x="792" y="2175"/>
                  </a:lnTo>
                  <a:lnTo>
                    <a:pt x="852" y="2144"/>
                  </a:lnTo>
                  <a:lnTo>
                    <a:pt x="852" y="2341"/>
                  </a:lnTo>
                  <a:lnTo>
                    <a:pt x="852" y="2341"/>
                  </a:lnTo>
                  <a:lnTo>
                    <a:pt x="875" y="2309"/>
                  </a:lnTo>
                  <a:lnTo>
                    <a:pt x="924" y="2247"/>
                  </a:lnTo>
                  <a:lnTo>
                    <a:pt x="995" y="2247"/>
                  </a:lnTo>
                  <a:lnTo>
                    <a:pt x="929" y="2328"/>
                  </a:lnTo>
                  <a:close/>
                  <a:moveTo>
                    <a:pt x="1219" y="2493"/>
                  </a:moveTo>
                  <a:lnTo>
                    <a:pt x="1157" y="2493"/>
                  </a:lnTo>
                  <a:lnTo>
                    <a:pt x="1157" y="2247"/>
                  </a:lnTo>
                  <a:lnTo>
                    <a:pt x="1219" y="2247"/>
                  </a:lnTo>
                  <a:lnTo>
                    <a:pt x="1219" y="2268"/>
                  </a:lnTo>
                  <a:lnTo>
                    <a:pt x="1219" y="2268"/>
                  </a:lnTo>
                  <a:lnTo>
                    <a:pt x="1225" y="2261"/>
                  </a:lnTo>
                  <a:lnTo>
                    <a:pt x="1231" y="2257"/>
                  </a:lnTo>
                  <a:lnTo>
                    <a:pt x="1238" y="2252"/>
                  </a:lnTo>
                  <a:lnTo>
                    <a:pt x="1245" y="2248"/>
                  </a:lnTo>
                  <a:lnTo>
                    <a:pt x="1254" y="2246"/>
                  </a:lnTo>
                  <a:lnTo>
                    <a:pt x="1263" y="2243"/>
                  </a:lnTo>
                  <a:lnTo>
                    <a:pt x="1271" y="2242"/>
                  </a:lnTo>
                  <a:lnTo>
                    <a:pt x="1281" y="2241"/>
                  </a:lnTo>
                  <a:lnTo>
                    <a:pt x="1281" y="2241"/>
                  </a:lnTo>
                  <a:lnTo>
                    <a:pt x="1292" y="2242"/>
                  </a:lnTo>
                  <a:lnTo>
                    <a:pt x="1302" y="2243"/>
                  </a:lnTo>
                  <a:lnTo>
                    <a:pt x="1310" y="2246"/>
                  </a:lnTo>
                  <a:lnTo>
                    <a:pt x="1320" y="2248"/>
                  </a:lnTo>
                  <a:lnTo>
                    <a:pt x="1328" y="2253"/>
                  </a:lnTo>
                  <a:lnTo>
                    <a:pt x="1335" y="2258"/>
                  </a:lnTo>
                  <a:lnTo>
                    <a:pt x="1342" y="2263"/>
                  </a:lnTo>
                  <a:lnTo>
                    <a:pt x="1348" y="2270"/>
                  </a:lnTo>
                  <a:lnTo>
                    <a:pt x="1353" y="2277"/>
                  </a:lnTo>
                  <a:lnTo>
                    <a:pt x="1358" y="2286"/>
                  </a:lnTo>
                  <a:lnTo>
                    <a:pt x="1362" y="2295"/>
                  </a:lnTo>
                  <a:lnTo>
                    <a:pt x="1366" y="2306"/>
                  </a:lnTo>
                  <a:lnTo>
                    <a:pt x="1368" y="2317"/>
                  </a:lnTo>
                  <a:lnTo>
                    <a:pt x="1369" y="2328"/>
                  </a:lnTo>
                  <a:lnTo>
                    <a:pt x="1371" y="2340"/>
                  </a:lnTo>
                  <a:lnTo>
                    <a:pt x="1372" y="2353"/>
                  </a:lnTo>
                  <a:lnTo>
                    <a:pt x="1372" y="2493"/>
                  </a:lnTo>
                  <a:lnTo>
                    <a:pt x="1310" y="2493"/>
                  </a:lnTo>
                  <a:lnTo>
                    <a:pt x="1310" y="2357"/>
                  </a:lnTo>
                  <a:lnTo>
                    <a:pt x="1310" y="2357"/>
                  </a:lnTo>
                  <a:lnTo>
                    <a:pt x="1309" y="2343"/>
                  </a:lnTo>
                  <a:lnTo>
                    <a:pt x="1308" y="2330"/>
                  </a:lnTo>
                  <a:lnTo>
                    <a:pt x="1304" y="2320"/>
                  </a:lnTo>
                  <a:lnTo>
                    <a:pt x="1299" y="2312"/>
                  </a:lnTo>
                  <a:lnTo>
                    <a:pt x="1293" y="2306"/>
                  </a:lnTo>
                  <a:lnTo>
                    <a:pt x="1286" y="2301"/>
                  </a:lnTo>
                  <a:lnTo>
                    <a:pt x="1276" y="2298"/>
                  </a:lnTo>
                  <a:lnTo>
                    <a:pt x="1265" y="2297"/>
                  </a:lnTo>
                  <a:lnTo>
                    <a:pt x="1265" y="2297"/>
                  </a:lnTo>
                  <a:lnTo>
                    <a:pt x="1255" y="2298"/>
                  </a:lnTo>
                  <a:lnTo>
                    <a:pt x="1245" y="2301"/>
                  </a:lnTo>
                  <a:lnTo>
                    <a:pt x="1237" y="2306"/>
                  </a:lnTo>
                  <a:lnTo>
                    <a:pt x="1231" y="2313"/>
                  </a:lnTo>
                  <a:lnTo>
                    <a:pt x="1226" y="2320"/>
                  </a:lnTo>
                  <a:lnTo>
                    <a:pt x="1222" y="2331"/>
                  </a:lnTo>
                  <a:lnTo>
                    <a:pt x="1220" y="2343"/>
                  </a:lnTo>
                  <a:lnTo>
                    <a:pt x="1219" y="2357"/>
                  </a:lnTo>
                  <a:lnTo>
                    <a:pt x="1219" y="2493"/>
                  </a:lnTo>
                  <a:close/>
                  <a:moveTo>
                    <a:pt x="1564" y="2264"/>
                  </a:moveTo>
                  <a:lnTo>
                    <a:pt x="1564" y="2264"/>
                  </a:lnTo>
                  <a:lnTo>
                    <a:pt x="1558" y="2259"/>
                  </a:lnTo>
                  <a:lnTo>
                    <a:pt x="1552" y="2254"/>
                  </a:lnTo>
                  <a:lnTo>
                    <a:pt x="1546" y="2250"/>
                  </a:lnTo>
                  <a:lnTo>
                    <a:pt x="1538" y="2247"/>
                  </a:lnTo>
                  <a:lnTo>
                    <a:pt x="1531" y="2244"/>
                  </a:lnTo>
                  <a:lnTo>
                    <a:pt x="1524" y="2243"/>
                  </a:lnTo>
                  <a:lnTo>
                    <a:pt x="1516" y="2242"/>
                  </a:lnTo>
                  <a:lnTo>
                    <a:pt x="1509" y="2241"/>
                  </a:lnTo>
                  <a:lnTo>
                    <a:pt x="1509" y="2241"/>
                  </a:lnTo>
                  <a:lnTo>
                    <a:pt x="1498" y="2242"/>
                  </a:lnTo>
                  <a:lnTo>
                    <a:pt x="1488" y="2243"/>
                  </a:lnTo>
                  <a:lnTo>
                    <a:pt x="1478" y="2246"/>
                  </a:lnTo>
                  <a:lnTo>
                    <a:pt x="1469" y="2250"/>
                  </a:lnTo>
                  <a:lnTo>
                    <a:pt x="1460" y="2254"/>
                  </a:lnTo>
                  <a:lnTo>
                    <a:pt x="1453" y="2260"/>
                  </a:lnTo>
                  <a:lnTo>
                    <a:pt x="1445" y="2268"/>
                  </a:lnTo>
                  <a:lnTo>
                    <a:pt x="1438" y="2275"/>
                  </a:lnTo>
                  <a:lnTo>
                    <a:pt x="1432" y="2284"/>
                  </a:lnTo>
                  <a:lnTo>
                    <a:pt x="1427" y="2293"/>
                  </a:lnTo>
                  <a:lnTo>
                    <a:pt x="1422" y="2303"/>
                  </a:lnTo>
                  <a:lnTo>
                    <a:pt x="1418" y="2315"/>
                  </a:lnTo>
                  <a:lnTo>
                    <a:pt x="1416" y="2326"/>
                  </a:lnTo>
                  <a:lnTo>
                    <a:pt x="1413" y="2340"/>
                  </a:lnTo>
                  <a:lnTo>
                    <a:pt x="1412" y="2353"/>
                  </a:lnTo>
                  <a:lnTo>
                    <a:pt x="1412" y="2367"/>
                  </a:lnTo>
                  <a:lnTo>
                    <a:pt x="1412" y="2367"/>
                  </a:lnTo>
                  <a:lnTo>
                    <a:pt x="1412" y="2383"/>
                  </a:lnTo>
                  <a:lnTo>
                    <a:pt x="1413" y="2396"/>
                  </a:lnTo>
                  <a:lnTo>
                    <a:pt x="1416" y="2410"/>
                  </a:lnTo>
                  <a:lnTo>
                    <a:pt x="1418" y="2423"/>
                  </a:lnTo>
                  <a:lnTo>
                    <a:pt x="1422" y="2434"/>
                  </a:lnTo>
                  <a:lnTo>
                    <a:pt x="1427" y="2445"/>
                  </a:lnTo>
                  <a:lnTo>
                    <a:pt x="1432" y="2455"/>
                  </a:lnTo>
                  <a:lnTo>
                    <a:pt x="1438" y="2463"/>
                  </a:lnTo>
                  <a:lnTo>
                    <a:pt x="1444" y="2472"/>
                  </a:lnTo>
                  <a:lnTo>
                    <a:pt x="1451" y="2478"/>
                  </a:lnTo>
                  <a:lnTo>
                    <a:pt x="1459" y="2484"/>
                  </a:lnTo>
                  <a:lnTo>
                    <a:pt x="1467" y="2489"/>
                  </a:lnTo>
                  <a:lnTo>
                    <a:pt x="1477" y="2493"/>
                  </a:lnTo>
                  <a:lnTo>
                    <a:pt x="1487" y="2496"/>
                  </a:lnTo>
                  <a:lnTo>
                    <a:pt x="1497" y="2498"/>
                  </a:lnTo>
                  <a:lnTo>
                    <a:pt x="1508" y="2499"/>
                  </a:lnTo>
                  <a:lnTo>
                    <a:pt x="1508" y="2499"/>
                  </a:lnTo>
                  <a:lnTo>
                    <a:pt x="1515" y="2498"/>
                  </a:lnTo>
                  <a:lnTo>
                    <a:pt x="1524" y="2496"/>
                  </a:lnTo>
                  <a:lnTo>
                    <a:pt x="1531" y="2495"/>
                  </a:lnTo>
                  <a:lnTo>
                    <a:pt x="1538" y="2493"/>
                  </a:lnTo>
                  <a:lnTo>
                    <a:pt x="1545" y="2489"/>
                  </a:lnTo>
                  <a:lnTo>
                    <a:pt x="1552" y="2485"/>
                  </a:lnTo>
                  <a:lnTo>
                    <a:pt x="1558" y="2480"/>
                  </a:lnTo>
                  <a:lnTo>
                    <a:pt x="1564" y="2474"/>
                  </a:lnTo>
                  <a:lnTo>
                    <a:pt x="1564" y="2480"/>
                  </a:lnTo>
                  <a:lnTo>
                    <a:pt x="1564" y="2480"/>
                  </a:lnTo>
                  <a:lnTo>
                    <a:pt x="1564" y="2490"/>
                  </a:lnTo>
                  <a:lnTo>
                    <a:pt x="1563" y="2501"/>
                  </a:lnTo>
                  <a:lnTo>
                    <a:pt x="1559" y="2512"/>
                  </a:lnTo>
                  <a:lnTo>
                    <a:pt x="1557" y="2517"/>
                  </a:lnTo>
                  <a:lnTo>
                    <a:pt x="1554" y="2522"/>
                  </a:lnTo>
                  <a:lnTo>
                    <a:pt x="1550" y="2527"/>
                  </a:lnTo>
                  <a:lnTo>
                    <a:pt x="1545" y="2532"/>
                  </a:lnTo>
                  <a:lnTo>
                    <a:pt x="1538" y="2536"/>
                  </a:lnTo>
                  <a:lnTo>
                    <a:pt x="1531" y="2539"/>
                  </a:lnTo>
                  <a:lnTo>
                    <a:pt x="1521" y="2542"/>
                  </a:lnTo>
                  <a:lnTo>
                    <a:pt x="1512" y="2544"/>
                  </a:lnTo>
                  <a:lnTo>
                    <a:pt x="1499" y="2545"/>
                  </a:lnTo>
                  <a:lnTo>
                    <a:pt x="1485" y="2545"/>
                  </a:lnTo>
                  <a:lnTo>
                    <a:pt x="1482" y="2545"/>
                  </a:lnTo>
                  <a:lnTo>
                    <a:pt x="1504" y="2593"/>
                  </a:lnTo>
                  <a:lnTo>
                    <a:pt x="1505" y="2593"/>
                  </a:lnTo>
                  <a:lnTo>
                    <a:pt x="1505" y="2593"/>
                  </a:lnTo>
                  <a:lnTo>
                    <a:pt x="1520" y="2593"/>
                  </a:lnTo>
                  <a:lnTo>
                    <a:pt x="1534" y="2592"/>
                  </a:lnTo>
                  <a:lnTo>
                    <a:pt x="1546" y="2588"/>
                  </a:lnTo>
                  <a:lnTo>
                    <a:pt x="1558" y="2586"/>
                  </a:lnTo>
                  <a:lnTo>
                    <a:pt x="1569" y="2581"/>
                  </a:lnTo>
                  <a:lnTo>
                    <a:pt x="1579" y="2576"/>
                  </a:lnTo>
                  <a:lnTo>
                    <a:pt x="1588" y="2570"/>
                  </a:lnTo>
                  <a:lnTo>
                    <a:pt x="1595" y="2562"/>
                  </a:lnTo>
                  <a:lnTo>
                    <a:pt x="1602" y="2554"/>
                  </a:lnTo>
                  <a:lnTo>
                    <a:pt x="1608" y="2545"/>
                  </a:lnTo>
                  <a:lnTo>
                    <a:pt x="1613" y="2534"/>
                  </a:lnTo>
                  <a:lnTo>
                    <a:pt x="1617" y="2523"/>
                  </a:lnTo>
                  <a:lnTo>
                    <a:pt x="1621" y="2512"/>
                  </a:lnTo>
                  <a:lnTo>
                    <a:pt x="1623" y="2499"/>
                  </a:lnTo>
                  <a:lnTo>
                    <a:pt x="1624" y="2485"/>
                  </a:lnTo>
                  <a:lnTo>
                    <a:pt x="1624" y="2471"/>
                  </a:lnTo>
                  <a:lnTo>
                    <a:pt x="1624" y="2247"/>
                  </a:lnTo>
                  <a:lnTo>
                    <a:pt x="1564" y="2247"/>
                  </a:lnTo>
                  <a:lnTo>
                    <a:pt x="1564" y="2264"/>
                  </a:lnTo>
                  <a:close/>
                  <a:moveTo>
                    <a:pt x="1564" y="2321"/>
                  </a:moveTo>
                  <a:lnTo>
                    <a:pt x="1564" y="2418"/>
                  </a:lnTo>
                  <a:lnTo>
                    <a:pt x="1564" y="2418"/>
                  </a:lnTo>
                  <a:lnTo>
                    <a:pt x="1556" y="2427"/>
                  </a:lnTo>
                  <a:lnTo>
                    <a:pt x="1547" y="2435"/>
                  </a:lnTo>
                  <a:lnTo>
                    <a:pt x="1541" y="2438"/>
                  </a:lnTo>
                  <a:lnTo>
                    <a:pt x="1535" y="2440"/>
                  </a:lnTo>
                  <a:lnTo>
                    <a:pt x="1529" y="2441"/>
                  </a:lnTo>
                  <a:lnTo>
                    <a:pt x="1520" y="2443"/>
                  </a:lnTo>
                  <a:lnTo>
                    <a:pt x="1520" y="2443"/>
                  </a:lnTo>
                  <a:lnTo>
                    <a:pt x="1513" y="2441"/>
                  </a:lnTo>
                  <a:lnTo>
                    <a:pt x="1504" y="2439"/>
                  </a:lnTo>
                  <a:lnTo>
                    <a:pt x="1497" y="2435"/>
                  </a:lnTo>
                  <a:lnTo>
                    <a:pt x="1489" y="2428"/>
                  </a:lnTo>
                  <a:lnTo>
                    <a:pt x="1483" y="2418"/>
                  </a:lnTo>
                  <a:lnTo>
                    <a:pt x="1478" y="2405"/>
                  </a:lnTo>
                  <a:lnTo>
                    <a:pt x="1476" y="2387"/>
                  </a:lnTo>
                  <a:lnTo>
                    <a:pt x="1475" y="2365"/>
                  </a:lnTo>
                  <a:lnTo>
                    <a:pt x="1475" y="2365"/>
                  </a:lnTo>
                  <a:lnTo>
                    <a:pt x="1476" y="2347"/>
                  </a:lnTo>
                  <a:lnTo>
                    <a:pt x="1478" y="2331"/>
                  </a:lnTo>
                  <a:lnTo>
                    <a:pt x="1483" y="2319"/>
                  </a:lnTo>
                  <a:lnTo>
                    <a:pt x="1489" y="2310"/>
                  </a:lnTo>
                  <a:lnTo>
                    <a:pt x="1497" y="2304"/>
                  </a:lnTo>
                  <a:lnTo>
                    <a:pt x="1504" y="2299"/>
                  </a:lnTo>
                  <a:lnTo>
                    <a:pt x="1513" y="2298"/>
                  </a:lnTo>
                  <a:lnTo>
                    <a:pt x="1520" y="2297"/>
                  </a:lnTo>
                  <a:lnTo>
                    <a:pt x="1520" y="2297"/>
                  </a:lnTo>
                  <a:lnTo>
                    <a:pt x="1529" y="2298"/>
                  </a:lnTo>
                  <a:lnTo>
                    <a:pt x="1536" y="2299"/>
                  </a:lnTo>
                  <a:lnTo>
                    <a:pt x="1542" y="2302"/>
                  </a:lnTo>
                  <a:lnTo>
                    <a:pt x="1548" y="2306"/>
                  </a:lnTo>
                  <a:lnTo>
                    <a:pt x="1553" y="2309"/>
                  </a:lnTo>
                  <a:lnTo>
                    <a:pt x="1557" y="2313"/>
                  </a:lnTo>
                  <a:lnTo>
                    <a:pt x="1564" y="2321"/>
                  </a:lnTo>
                  <a:lnTo>
                    <a:pt x="1564" y="2321"/>
                  </a:lnTo>
                  <a:close/>
                  <a:moveTo>
                    <a:pt x="1042" y="2247"/>
                  </a:moveTo>
                  <a:lnTo>
                    <a:pt x="1103" y="2247"/>
                  </a:lnTo>
                  <a:lnTo>
                    <a:pt x="1103" y="2356"/>
                  </a:lnTo>
                  <a:lnTo>
                    <a:pt x="1103" y="2493"/>
                  </a:lnTo>
                  <a:lnTo>
                    <a:pt x="1042" y="2493"/>
                  </a:lnTo>
                  <a:lnTo>
                    <a:pt x="1042" y="2247"/>
                  </a:lnTo>
                  <a:close/>
                  <a:moveTo>
                    <a:pt x="1103" y="2181"/>
                  </a:moveTo>
                  <a:lnTo>
                    <a:pt x="1103" y="2211"/>
                  </a:lnTo>
                  <a:lnTo>
                    <a:pt x="1042" y="2211"/>
                  </a:lnTo>
                  <a:lnTo>
                    <a:pt x="1042" y="2150"/>
                  </a:lnTo>
                  <a:lnTo>
                    <a:pt x="1103" y="2150"/>
                  </a:lnTo>
                  <a:lnTo>
                    <a:pt x="1103" y="2181"/>
                  </a:lnTo>
                  <a:close/>
                  <a:moveTo>
                    <a:pt x="2565" y="2175"/>
                  </a:moveTo>
                  <a:lnTo>
                    <a:pt x="2626" y="2144"/>
                  </a:lnTo>
                  <a:lnTo>
                    <a:pt x="2626" y="2367"/>
                  </a:lnTo>
                  <a:lnTo>
                    <a:pt x="2626" y="2493"/>
                  </a:lnTo>
                  <a:lnTo>
                    <a:pt x="2565" y="2493"/>
                  </a:lnTo>
                  <a:lnTo>
                    <a:pt x="2565" y="2175"/>
                  </a:lnTo>
                  <a:close/>
                  <a:moveTo>
                    <a:pt x="441" y="839"/>
                  </a:moveTo>
                  <a:lnTo>
                    <a:pt x="944" y="839"/>
                  </a:lnTo>
                  <a:lnTo>
                    <a:pt x="944" y="548"/>
                  </a:lnTo>
                  <a:lnTo>
                    <a:pt x="441" y="548"/>
                  </a:lnTo>
                  <a:lnTo>
                    <a:pt x="441" y="319"/>
                  </a:lnTo>
                  <a:lnTo>
                    <a:pt x="998" y="319"/>
                  </a:lnTo>
                  <a:lnTo>
                    <a:pt x="813" y="0"/>
                  </a:lnTo>
                  <a:lnTo>
                    <a:pt x="25" y="0"/>
                  </a:lnTo>
                  <a:lnTo>
                    <a:pt x="25" y="1387"/>
                  </a:lnTo>
                  <a:lnTo>
                    <a:pt x="1136" y="1387"/>
                  </a:lnTo>
                  <a:lnTo>
                    <a:pt x="1136" y="1068"/>
                  </a:lnTo>
                  <a:lnTo>
                    <a:pt x="441" y="1068"/>
                  </a:lnTo>
                  <a:lnTo>
                    <a:pt x="441" y="839"/>
                  </a:lnTo>
                  <a:close/>
                  <a:moveTo>
                    <a:pt x="1877" y="0"/>
                  </a:moveTo>
                  <a:lnTo>
                    <a:pt x="1640" y="452"/>
                  </a:lnTo>
                  <a:lnTo>
                    <a:pt x="1405" y="0"/>
                  </a:lnTo>
                  <a:lnTo>
                    <a:pt x="944" y="0"/>
                  </a:lnTo>
                  <a:lnTo>
                    <a:pt x="1429" y="839"/>
                  </a:lnTo>
                  <a:lnTo>
                    <a:pt x="1429" y="1387"/>
                  </a:lnTo>
                  <a:lnTo>
                    <a:pt x="1845" y="1387"/>
                  </a:lnTo>
                  <a:lnTo>
                    <a:pt x="1845" y="839"/>
                  </a:lnTo>
                  <a:lnTo>
                    <a:pt x="2332" y="0"/>
                  </a:lnTo>
                  <a:lnTo>
                    <a:pt x="1877" y="0"/>
                  </a:lnTo>
                  <a:close/>
                </a:path>
              </a:pathLst>
            </a:custGeom>
            <a:solidFill>
              <a:srgbClr val="8080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1" tIns="45710" rIns="91421" bIns="45710" numCol="1" anchor="t" anchorCtr="0" compatLnSpc="1">
              <a:prstTxWarp prst="textNoShape">
                <a:avLst/>
              </a:prstTxWarp>
            </a:bodyPr>
            <a:lstStyle/>
            <a:p>
              <a:pPr algn="l" eaLnBrk="1" hangingPunct="1">
                <a:spcBef>
                  <a:spcPct val="0"/>
                </a:spcBef>
                <a:spcAft>
                  <a:spcPct val="50000"/>
                </a:spcAft>
                <a:buClr>
                  <a:srgbClr val="FFE600"/>
                </a:buClr>
                <a:buSzPct val="80000"/>
                <a:buFont typeface="Arial" charset="0"/>
                <a:buNone/>
              </a:pPr>
              <a:endParaRPr lang="en-US" sz="900" noProof="1">
                <a:solidFill>
                  <a:srgbClr val="000000"/>
                </a:solidFill>
                <a:latin typeface="EYInterstate Light" pitchFamily="2" charset="0"/>
              </a:endParaRPr>
            </a:p>
          </p:txBody>
        </p:sp>
      </p:grpSp>
      <p:sp>
        <p:nvSpPr>
          <p:cNvPr id="24" name="Rectangle 34"/>
          <p:cNvSpPr txBox="1">
            <a:spLocks noChangeArrowheads="1"/>
          </p:cNvSpPr>
          <p:nvPr/>
        </p:nvSpPr>
        <p:spPr bwMode="gray">
          <a:xfrm>
            <a:off x="798883" y="2741138"/>
            <a:ext cx="4354989" cy="1661644"/>
          </a:xfrm>
          <a:prstGeom prst="rect">
            <a:avLst/>
          </a:prstGeom>
        </p:spPr>
        <p:txBody>
          <a:bodyPr vert="horz" wrap="square" lIns="0" tIns="0" rIns="0" bIns="0" rtlCol="0">
            <a:spAutoFit/>
          </a:bodyPr>
          <a:lstStyle>
            <a:lvl1pPr marL="0" indent="0">
              <a:spcAft>
                <a:spcPct val="0"/>
              </a:spcAft>
              <a:buFont typeface="Arial" charset="0"/>
              <a:buNone/>
              <a:defRPr kumimoji="0" lang="en-US" sz="1800" b="0" i="0" u="none" strike="noStrike" kern="0" cap="none" spc="0" normalizeH="0" baseline="0" noProof="0" dirty="0">
                <a:ln>
                  <a:noFill/>
                </a:ln>
                <a:solidFill>
                  <a:schemeClr val="tx1"/>
                </a:solidFill>
                <a:effectLst/>
                <a:uLnTx/>
                <a:uFillTx/>
                <a:latin typeface="+mj-lt"/>
                <a:ea typeface="+mn-ea"/>
                <a:cs typeface="+mn-cs"/>
              </a:defRPr>
            </a:lvl1pPr>
            <a:lvl2pPr marL="177610" indent="-177610">
              <a:spcAft>
                <a:spcPts val="600"/>
              </a:spcAft>
              <a:buClr>
                <a:schemeClr val="accent2"/>
              </a:buClr>
              <a:buSzPct val="80000"/>
              <a:buFont typeface="Arial" pitchFamily="34" charset="0"/>
              <a:buChar char="►"/>
              <a:defRPr kumimoji="0" lang="de-CH" sz="900" b="0" i="0" u="none" strike="noStrike" kern="0" cap="none" spc="0" normalizeH="0" baseline="0" noProof="0" smtClean="0">
                <a:ln>
                  <a:noFill/>
                </a:ln>
                <a:solidFill>
                  <a:schemeClr val="tx1"/>
                </a:solidFill>
                <a:effectLst/>
                <a:uLnTx/>
                <a:uFillTx/>
                <a:latin typeface="+mn-lt"/>
              </a:defRPr>
            </a:lvl2pPr>
            <a:lvl3pPr marL="361565" indent="-183952">
              <a:spcAft>
                <a:spcPts val="600"/>
              </a:spcAft>
              <a:buClr>
                <a:schemeClr val="accent4"/>
              </a:buClr>
              <a:buSzPct val="80000"/>
              <a:buFont typeface="Arial" pitchFamily="34" charset="0"/>
              <a:buChar char="►"/>
              <a:defRPr kumimoji="0" lang="de-CH" sz="900" b="0" i="0" u="none" strike="noStrike" kern="0" cap="none" spc="0" normalizeH="0" baseline="0" noProof="0" smtClean="0">
                <a:ln>
                  <a:noFill/>
                </a:ln>
                <a:solidFill>
                  <a:schemeClr val="tx1"/>
                </a:solidFill>
                <a:effectLst/>
                <a:uLnTx/>
                <a:uFillTx/>
                <a:latin typeface="+mn-lt"/>
              </a:defRPr>
            </a:lvl3pPr>
            <a:lvl4pPr marL="539171" indent="-177610">
              <a:spcAft>
                <a:spcPts val="600"/>
              </a:spcAft>
              <a:buClr>
                <a:schemeClr val="accent5">
                  <a:lumMod val="90000"/>
                </a:schemeClr>
              </a:buClr>
              <a:buSzPct val="80000"/>
              <a:buFont typeface="Arial" pitchFamily="34" charset="0"/>
              <a:buChar char="►"/>
              <a:defRPr kumimoji="0" lang="de-CH" sz="900" b="0" i="0" u="none" strike="noStrike" kern="0" cap="none" spc="0" normalizeH="0" baseline="0" noProof="0" smtClean="0">
                <a:ln>
                  <a:noFill/>
                </a:ln>
                <a:solidFill>
                  <a:schemeClr val="tx1"/>
                </a:solidFill>
                <a:effectLst/>
                <a:uLnTx/>
                <a:uFillTx/>
                <a:latin typeface="+mn-lt"/>
              </a:defRPr>
            </a:lvl4pPr>
            <a:lvl5pPr marL="716784" indent="-177610">
              <a:spcAft>
                <a:spcPts val="600"/>
              </a:spcAft>
              <a:buClr>
                <a:schemeClr val="accent5">
                  <a:lumMod val="90000"/>
                </a:schemeClr>
              </a:buClr>
              <a:buSzPct val="80000"/>
              <a:buFont typeface="Arial" pitchFamily="34" charset="0"/>
              <a:buChar char="►"/>
              <a:defRPr sz="900">
                <a:solidFill>
                  <a:schemeClr val="tx1"/>
                </a:solidFill>
                <a:latin typeface="+mn-lt"/>
              </a:defRPr>
            </a:lvl5pPr>
          </a:lstStyle>
          <a:p>
            <a:pPr defTabSz="1041664">
              <a:spcBef>
                <a:spcPct val="0"/>
              </a:spcBef>
              <a:spcAft>
                <a:spcPct val="50000"/>
              </a:spcAft>
              <a:buClr>
                <a:srgbClr val="FFE600"/>
              </a:buClr>
              <a:defRPr/>
            </a:pPr>
            <a:r>
              <a:rPr lang="en-US" sz="2400" b="1" kern="1200" noProof="1">
                <a:solidFill>
                  <a:schemeClr val="tx2"/>
                </a:solidFill>
              </a:rPr>
              <a:t>Einblicke in Unternehmenstransaktionen in der Schweiz </a:t>
            </a:r>
          </a:p>
          <a:p>
            <a:pPr defTabSz="1041664">
              <a:spcBef>
                <a:spcPct val="0"/>
              </a:spcBef>
              <a:spcAft>
                <a:spcPct val="50000"/>
              </a:spcAft>
              <a:buClr>
                <a:srgbClr val="FFE600"/>
              </a:buClr>
              <a:defRPr/>
            </a:pPr>
            <a:endParaRPr lang="en-US" sz="2400" b="1" kern="1200" noProof="1">
              <a:solidFill>
                <a:schemeClr val="tx2"/>
              </a:solidFill>
            </a:endParaRPr>
          </a:p>
        </p:txBody>
      </p:sp>
      <p:sp>
        <p:nvSpPr>
          <p:cNvPr id="13" name="Text Placeholder 7"/>
          <p:cNvSpPr txBox="1">
            <a:spLocks/>
          </p:cNvSpPr>
          <p:nvPr/>
        </p:nvSpPr>
        <p:spPr bwMode="gray">
          <a:xfrm>
            <a:off x="698210" y="1151882"/>
            <a:ext cx="2556838" cy="190849"/>
          </a:xfrm>
          <a:prstGeom prst="rect">
            <a:avLst/>
          </a:prstGeom>
          <a:noFill/>
          <a:ln w="9525">
            <a:noFill/>
            <a:miter lim="800000"/>
            <a:headEnd/>
            <a:tailEnd/>
          </a:ln>
          <a:effectLst/>
        </p:spPr>
        <p:txBody>
          <a:bodyPr lIns="0" tIns="0" rIns="0" bIns="0"/>
          <a:lstStyle>
            <a:lvl1pPr marL="0" marR="0" indent="0" algn="l" defTabSz="994299" rtl="0" eaLnBrk="1" fontAlgn="base" latinLnBrk="0" hangingPunct="1">
              <a:lnSpc>
                <a:spcPct val="100000"/>
              </a:lnSpc>
              <a:spcBef>
                <a:spcPct val="0"/>
              </a:spcBef>
              <a:spcAft>
                <a:spcPct val="50000"/>
              </a:spcAft>
              <a:buClr>
                <a:schemeClr val="accent2"/>
              </a:buClr>
              <a:buSzPct val="80000"/>
              <a:buFont typeface="Arial" charset="0"/>
              <a:buNone/>
              <a:tabLst/>
              <a:defRPr lang="en-US" sz="1200" kern="1200" baseline="0" noProof="0" smtClean="0">
                <a:solidFill>
                  <a:srgbClr val="000000"/>
                </a:solidFill>
                <a:latin typeface="EYInterstate" pitchFamily="2" charset="0"/>
                <a:ea typeface="+mn-ea"/>
                <a:cs typeface="+mn-cs"/>
              </a:defRPr>
            </a:lvl1pPr>
            <a:lvl2pPr marL="456800" marR="0" indent="0" algn="l" defTabSz="994299" rtl="0" eaLnBrk="1" fontAlgn="base" latinLnBrk="0" hangingPunct="1">
              <a:lnSpc>
                <a:spcPct val="100000"/>
              </a:lnSpc>
              <a:spcBef>
                <a:spcPct val="0"/>
              </a:spcBef>
              <a:spcAft>
                <a:spcPct val="50000"/>
              </a:spcAft>
              <a:buClr>
                <a:schemeClr val="accent2"/>
              </a:buClr>
              <a:buSzPct val="80000"/>
              <a:buFont typeface="Arial" charset="0"/>
              <a:buNone/>
              <a:tabLst/>
              <a:defRPr lang="en-US" sz="1200" kern="1200" noProof="0" smtClean="0">
                <a:solidFill>
                  <a:srgbClr val="000000"/>
                </a:solidFill>
                <a:latin typeface="EYInterstate" pitchFamily="2" charset="0"/>
                <a:ea typeface="+mn-ea"/>
                <a:cs typeface="+mn-cs"/>
              </a:defRPr>
            </a:lvl2pPr>
            <a:lvl3pPr marL="913599" marR="0" indent="0" algn="l" defTabSz="994299" rtl="0" eaLnBrk="1" fontAlgn="base" latinLnBrk="0" hangingPunct="1">
              <a:lnSpc>
                <a:spcPct val="100000"/>
              </a:lnSpc>
              <a:spcBef>
                <a:spcPct val="0"/>
              </a:spcBef>
              <a:spcAft>
                <a:spcPct val="50000"/>
              </a:spcAft>
              <a:buClr>
                <a:schemeClr val="accent2"/>
              </a:buClr>
              <a:buSzPct val="80000"/>
              <a:buFont typeface="Arial" charset="0"/>
              <a:buNone/>
              <a:tabLst/>
              <a:defRPr lang="en-US" sz="1200" kern="1200" noProof="0" smtClean="0">
                <a:solidFill>
                  <a:srgbClr val="000000"/>
                </a:solidFill>
                <a:latin typeface="EYInterstate" pitchFamily="2" charset="0"/>
                <a:ea typeface="+mn-ea"/>
                <a:cs typeface="+mn-cs"/>
              </a:defRPr>
            </a:lvl3pPr>
            <a:lvl4pPr marL="1370401" marR="0" indent="0" algn="l" defTabSz="994299" rtl="0" eaLnBrk="1" fontAlgn="base" latinLnBrk="0" hangingPunct="1">
              <a:lnSpc>
                <a:spcPct val="100000"/>
              </a:lnSpc>
              <a:spcBef>
                <a:spcPct val="0"/>
              </a:spcBef>
              <a:spcAft>
                <a:spcPct val="50000"/>
              </a:spcAft>
              <a:buClr>
                <a:schemeClr val="accent2"/>
              </a:buClr>
              <a:buSzPct val="80000"/>
              <a:buFont typeface="Arial" charset="0"/>
              <a:buNone/>
              <a:tabLst/>
              <a:defRPr lang="en-US" sz="1200" kern="1200" noProof="0" smtClean="0">
                <a:solidFill>
                  <a:srgbClr val="000000"/>
                </a:solidFill>
                <a:latin typeface="EYInterstate" pitchFamily="2" charset="0"/>
                <a:ea typeface="+mn-ea"/>
                <a:cs typeface="+mn-cs"/>
              </a:defRPr>
            </a:lvl4pPr>
            <a:lvl5pPr marL="0" marR="0" indent="128588" algn="l" defTabSz="994299" rtl="0" eaLnBrk="1" fontAlgn="base" latinLnBrk="0" hangingPunct="1">
              <a:lnSpc>
                <a:spcPct val="100000"/>
              </a:lnSpc>
              <a:spcBef>
                <a:spcPct val="0"/>
              </a:spcBef>
              <a:spcAft>
                <a:spcPct val="50000"/>
              </a:spcAft>
              <a:buClr>
                <a:schemeClr val="accent2"/>
              </a:buClr>
              <a:buSzPct val="80000"/>
              <a:buFont typeface="Arial" charset="0"/>
              <a:buChar char="►"/>
              <a:tabLst/>
              <a:defRPr lang="en-US" sz="1200" kern="1200" baseline="0" noProof="0">
                <a:solidFill>
                  <a:srgbClr val="000000"/>
                </a:solidFill>
                <a:latin typeface="EYInterstate" pitchFamily="2" charset="0"/>
                <a:ea typeface="+mn-ea"/>
                <a:cs typeface="+mn-cs"/>
              </a:defRPr>
            </a:lvl5pPr>
            <a:lvl6pPr marL="128587" marR="0" indent="0" algn="l" defTabSz="1042342" rtl="0" eaLnBrk="1" fontAlgn="auto" latinLnBrk="0" hangingPunct="1">
              <a:lnSpc>
                <a:spcPct val="100000"/>
              </a:lnSpc>
              <a:spcBef>
                <a:spcPts val="0"/>
              </a:spcBef>
              <a:spcAft>
                <a:spcPts val="300"/>
              </a:spcAft>
              <a:buClr>
                <a:srgbClr val="C0C0C0"/>
              </a:buClr>
              <a:buSzPct val="80000"/>
              <a:buFont typeface="Arial" panose="020B0604020202020204" pitchFamily="34" charset="0"/>
              <a:buNone/>
              <a:tabLst/>
              <a:defRPr sz="900" kern="1200" baseline="0">
                <a:solidFill>
                  <a:schemeClr val="tx1"/>
                </a:solidFill>
                <a:latin typeface="+mn-lt"/>
                <a:ea typeface="+mn-ea"/>
                <a:cs typeface="+mn-cs"/>
              </a:defRPr>
            </a:lvl6pPr>
            <a:lvl7pPr marL="447675" indent="-179388" algn="l" defTabSz="1042342"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08800" indent="-260588" algn="l" defTabSz="1042342" rtl="0" eaLnBrk="1" latinLnBrk="0" hangingPunct="1">
              <a:spcBef>
                <a:spcPct val="20000"/>
              </a:spcBef>
              <a:buFont typeface="Arial" pitchFamily="34" charset="0"/>
              <a:buChar char="•"/>
              <a:defRPr sz="900" kern="1200">
                <a:solidFill>
                  <a:schemeClr val="tx1"/>
                </a:solidFill>
                <a:latin typeface="+mn-lt"/>
                <a:ea typeface="+mn-ea"/>
                <a:cs typeface="+mn-cs"/>
              </a:defRPr>
            </a:lvl8pPr>
            <a:lvl9pPr marL="4429972" indent="-260588" algn="l" defTabSz="1042342"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buClr>
                <a:srgbClr val="FFE600"/>
              </a:buClr>
              <a:defRPr/>
            </a:pPr>
            <a:r>
              <a:rPr lang="en-US" sz="1400" noProof="1">
                <a:solidFill>
                  <a:schemeClr val="tx2"/>
                </a:solidFill>
                <a:latin typeface="EYInterstate"/>
              </a:rPr>
              <a:t>20 März 2018</a:t>
            </a:r>
          </a:p>
          <a:p>
            <a:pPr>
              <a:buClr>
                <a:srgbClr val="FFE600"/>
              </a:buClr>
              <a:defRPr/>
            </a:pPr>
            <a:endParaRPr lang="en-US" sz="1400" noProof="1">
              <a:solidFill>
                <a:schemeClr val="tx2"/>
              </a:solidFill>
              <a:latin typeface="EYInterstate"/>
            </a:endParaRPr>
          </a:p>
        </p:txBody>
      </p:sp>
      <p:pic>
        <p:nvPicPr>
          <p:cNvPr id="11266" name="Picture 2" descr="RC Basel-Dreiländereck - Bil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63047" y="5887120"/>
            <a:ext cx="976071" cy="13028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03520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Typische Beobachtungen beim Käufer</a:t>
            </a:r>
            <a:br>
              <a:rPr lang="de-CH" dirty="0"/>
            </a:br>
            <a:r>
              <a:rPr lang="de-CH" dirty="0"/>
              <a:t>Integration ist Top Priorität (v.a. Mitarbeiter / Kultur)</a:t>
            </a:r>
          </a:p>
        </p:txBody>
      </p:sp>
      <p:sp>
        <p:nvSpPr>
          <p:cNvPr id="4" name="Date Placeholder 3"/>
          <p:cNvSpPr>
            <a:spLocks noGrp="1"/>
          </p:cNvSpPr>
          <p:nvPr>
            <p:ph type="dt" sz="half" idx="10"/>
          </p:nvPr>
        </p:nvSpPr>
        <p:spPr/>
        <p:txBody>
          <a:bodyPr/>
          <a:lstStyle/>
          <a:p>
            <a:fld id="{331920D8-7BBD-4173-8CCD-0777969364A1}"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a:t>Unternehmenstransaktionen in der Schweiz</a:t>
            </a:r>
            <a:endParaRPr lang="en-GB" dirty="0"/>
          </a:p>
        </p:txBody>
      </p:sp>
      <p:pic>
        <p:nvPicPr>
          <p:cNvPr id="7172" name="Picture 4" descr="Image result for mitarbeit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72719" y="1707131"/>
            <a:ext cx="4923388" cy="49233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58765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Schlüsselfaktoren für den Erfolg einer Transaktion</a:t>
            </a:r>
          </a:p>
        </p:txBody>
      </p:sp>
      <p:sp>
        <p:nvSpPr>
          <p:cNvPr id="4" name="Date Placeholder 3"/>
          <p:cNvSpPr>
            <a:spLocks noGrp="1"/>
          </p:cNvSpPr>
          <p:nvPr>
            <p:ph type="dt" sz="half" idx="10"/>
          </p:nvPr>
        </p:nvSpPr>
        <p:spPr/>
        <p:txBody>
          <a:bodyPr/>
          <a:lstStyle/>
          <a:p>
            <a:fld id="{331920D8-7BBD-4173-8CCD-0777969364A1}"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a:t>Unternehmenstransaktionen in der Schweiz</a:t>
            </a:r>
            <a:endParaRPr lang="en-GB" dirty="0"/>
          </a:p>
        </p:txBody>
      </p:sp>
      <p:sp>
        <p:nvSpPr>
          <p:cNvPr id="6" name="Rectangle 24"/>
          <p:cNvSpPr/>
          <p:nvPr/>
        </p:nvSpPr>
        <p:spPr bwMode="auto">
          <a:xfrm>
            <a:off x="2109005" y="1620391"/>
            <a:ext cx="2070230" cy="1380632"/>
          </a:xfrm>
          <a:custGeom>
            <a:avLst/>
            <a:gdLst>
              <a:gd name="connsiteX0" fmla="*/ 0 w 1728192"/>
              <a:gd name="connsiteY0" fmla="*/ 0 h 1584176"/>
              <a:gd name="connsiteX1" fmla="*/ 1728192 w 1728192"/>
              <a:gd name="connsiteY1" fmla="*/ 0 h 1584176"/>
              <a:gd name="connsiteX2" fmla="*/ 1728192 w 1728192"/>
              <a:gd name="connsiteY2" fmla="*/ 1584176 h 1584176"/>
              <a:gd name="connsiteX3" fmla="*/ 0 w 1728192"/>
              <a:gd name="connsiteY3" fmla="*/ 1584176 h 1584176"/>
              <a:gd name="connsiteX4" fmla="*/ 0 w 1728192"/>
              <a:gd name="connsiteY4" fmla="*/ 0 h 1584176"/>
              <a:gd name="connsiteX0" fmla="*/ 0 w 1728192"/>
              <a:gd name="connsiteY0" fmla="*/ 0 h 1584176"/>
              <a:gd name="connsiteX1" fmla="*/ 1728192 w 1728192"/>
              <a:gd name="connsiteY1" fmla="*/ 0 h 1584176"/>
              <a:gd name="connsiteX2" fmla="*/ 1727894 w 1728192"/>
              <a:gd name="connsiteY2" fmla="*/ 706165 h 1584176"/>
              <a:gd name="connsiteX3" fmla="*/ 1728192 w 1728192"/>
              <a:gd name="connsiteY3" fmla="*/ 1584176 h 1584176"/>
              <a:gd name="connsiteX4" fmla="*/ 0 w 1728192"/>
              <a:gd name="connsiteY4" fmla="*/ 1584176 h 1584176"/>
              <a:gd name="connsiteX5" fmla="*/ 0 w 1728192"/>
              <a:gd name="connsiteY5" fmla="*/ 0 h 1584176"/>
              <a:gd name="connsiteX0" fmla="*/ 0 w 1855327"/>
              <a:gd name="connsiteY0" fmla="*/ 0 h 1584176"/>
              <a:gd name="connsiteX1" fmla="*/ 1728192 w 1855327"/>
              <a:gd name="connsiteY1" fmla="*/ 0 h 1584176"/>
              <a:gd name="connsiteX2" fmla="*/ 1725513 w 1855327"/>
              <a:gd name="connsiteY2" fmla="*/ 591865 h 1584176"/>
              <a:gd name="connsiteX3" fmla="*/ 1727894 w 1855327"/>
              <a:gd name="connsiteY3" fmla="*/ 706165 h 1584176"/>
              <a:gd name="connsiteX4" fmla="*/ 1728192 w 1855327"/>
              <a:gd name="connsiteY4" fmla="*/ 1584176 h 1584176"/>
              <a:gd name="connsiteX5" fmla="*/ 0 w 1855327"/>
              <a:gd name="connsiteY5" fmla="*/ 1584176 h 1584176"/>
              <a:gd name="connsiteX6" fmla="*/ 0 w 1855327"/>
              <a:gd name="connsiteY6" fmla="*/ 0 h 1584176"/>
              <a:gd name="connsiteX0" fmla="*/ 0 w 1856117"/>
              <a:gd name="connsiteY0" fmla="*/ 0 h 1584176"/>
              <a:gd name="connsiteX1" fmla="*/ 1728192 w 1856117"/>
              <a:gd name="connsiteY1" fmla="*/ 0 h 1584176"/>
              <a:gd name="connsiteX2" fmla="*/ 1725513 w 1856117"/>
              <a:gd name="connsiteY2" fmla="*/ 591865 h 1584176"/>
              <a:gd name="connsiteX3" fmla="*/ 1727894 w 1856117"/>
              <a:gd name="connsiteY3" fmla="*/ 706165 h 1584176"/>
              <a:gd name="connsiteX4" fmla="*/ 1727894 w 1856117"/>
              <a:gd name="connsiteY4" fmla="*/ 813321 h 1584176"/>
              <a:gd name="connsiteX5" fmla="*/ 1728192 w 1856117"/>
              <a:gd name="connsiteY5" fmla="*/ 1584176 h 1584176"/>
              <a:gd name="connsiteX6" fmla="*/ 0 w 1856117"/>
              <a:gd name="connsiteY6" fmla="*/ 1584176 h 1584176"/>
              <a:gd name="connsiteX7" fmla="*/ 0 w 1856117"/>
              <a:gd name="connsiteY7" fmla="*/ 0 h 1584176"/>
              <a:gd name="connsiteX0" fmla="*/ 0 w 1855327"/>
              <a:gd name="connsiteY0" fmla="*/ 0 h 1584176"/>
              <a:gd name="connsiteX1" fmla="*/ 1728192 w 1855327"/>
              <a:gd name="connsiteY1" fmla="*/ 0 h 1584176"/>
              <a:gd name="connsiteX2" fmla="*/ 1725513 w 1855327"/>
              <a:gd name="connsiteY2" fmla="*/ 591865 h 1584176"/>
              <a:gd name="connsiteX3" fmla="*/ 1727894 w 1855327"/>
              <a:gd name="connsiteY3" fmla="*/ 706165 h 1584176"/>
              <a:gd name="connsiteX4" fmla="*/ 1727894 w 1855327"/>
              <a:gd name="connsiteY4" fmla="*/ 813321 h 1584176"/>
              <a:gd name="connsiteX5" fmla="*/ 1728192 w 1855327"/>
              <a:gd name="connsiteY5" fmla="*/ 1584176 h 1584176"/>
              <a:gd name="connsiteX6" fmla="*/ 0 w 1855327"/>
              <a:gd name="connsiteY6" fmla="*/ 1584176 h 1584176"/>
              <a:gd name="connsiteX7" fmla="*/ 0 w 1855327"/>
              <a:gd name="connsiteY7" fmla="*/ 0 h 1584176"/>
              <a:gd name="connsiteX0" fmla="*/ 0 w 1728192"/>
              <a:gd name="connsiteY0" fmla="*/ 0 h 1584176"/>
              <a:gd name="connsiteX1" fmla="*/ 1728192 w 1728192"/>
              <a:gd name="connsiteY1" fmla="*/ 0 h 1584176"/>
              <a:gd name="connsiteX2" fmla="*/ 1725513 w 1728192"/>
              <a:gd name="connsiteY2" fmla="*/ 591865 h 1584176"/>
              <a:gd name="connsiteX3" fmla="*/ 1727894 w 1728192"/>
              <a:gd name="connsiteY3" fmla="*/ 706165 h 1584176"/>
              <a:gd name="connsiteX4" fmla="*/ 1727894 w 1728192"/>
              <a:gd name="connsiteY4" fmla="*/ 813321 h 1584176"/>
              <a:gd name="connsiteX5" fmla="*/ 1728192 w 1728192"/>
              <a:gd name="connsiteY5" fmla="*/ 1584176 h 1584176"/>
              <a:gd name="connsiteX6" fmla="*/ 0 w 1728192"/>
              <a:gd name="connsiteY6" fmla="*/ 1584176 h 1584176"/>
              <a:gd name="connsiteX7" fmla="*/ 0 w 1728192"/>
              <a:gd name="connsiteY7" fmla="*/ 0 h 1584176"/>
              <a:gd name="connsiteX0" fmla="*/ 0 w 1728192"/>
              <a:gd name="connsiteY0" fmla="*/ 0 h 1584176"/>
              <a:gd name="connsiteX1" fmla="*/ 1728192 w 1728192"/>
              <a:gd name="connsiteY1" fmla="*/ 0 h 1584176"/>
              <a:gd name="connsiteX2" fmla="*/ 1725513 w 1728192"/>
              <a:gd name="connsiteY2" fmla="*/ 591865 h 1584176"/>
              <a:gd name="connsiteX3" fmla="*/ 1418331 w 1728192"/>
              <a:gd name="connsiteY3" fmla="*/ 720452 h 1584176"/>
              <a:gd name="connsiteX4" fmla="*/ 1727894 w 1728192"/>
              <a:gd name="connsiteY4" fmla="*/ 813321 h 1584176"/>
              <a:gd name="connsiteX5" fmla="*/ 1728192 w 1728192"/>
              <a:gd name="connsiteY5" fmla="*/ 1584176 h 1584176"/>
              <a:gd name="connsiteX6" fmla="*/ 0 w 1728192"/>
              <a:gd name="connsiteY6" fmla="*/ 1584176 h 1584176"/>
              <a:gd name="connsiteX7" fmla="*/ 0 w 1728192"/>
              <a:gd name="connsiteY7" fmla="*/ 0 h 1584176"/>
              <a:gd name="connsiteX0" fmla="*/ 0 w 1728192"/>
              <a:gd name="connsiteY0" fmla="*/ 0 h 1584176"/>
              <a:gd name="connsiteX1" fmla="*/ 1728192 w 1728192"/>
              <a:gd name="connsiteY1" fmla="*/ 0 h 1584176"/>
              <a:gd name="connsiteX2" fmla="*/ 1725513 w 1728192"/>
              <a:gd name="connsiteY2" fmla="*/ 591865 h 1584176"/>
              <a:gd name="connsiteX3" fmla="*/ 1418331 w 1728192"/>
              <a:gd name="connsiteY3" fmla="*/ 720452 h 1584176"/>
              <a:gd name="connsiteX4" fmla="*/ 1727894 w 1728192"/>
              <a:gd name="connsiteY4" fmla="*/ 813321 h 1584176"/>
              <a:gd name="connsiteX5" fmla="*/ 1728192 w 1728192"/>
              <a:gd name="connsiteY5" fmla="*/ 1584176 h 1584176"/>
              <a:gd name="connsiteX6" fmla="*/ 0 w 1728192"/>
              <a:gd name="connsiteY6" fmla="*/ 1584176 h 1584176"/>
              <a:gd name="connsiteX7" fmla="*/ 0 w 1728192"/>
              <a:gd name="connsiteY7" fmla="*/ 0 h 1584176"/>
              <a:gd name="connsiteX0" fmla="*/ 0 w 1728192"/>
              <a:gd name="connsiteY0" fmla="*/ 0 h 1584846"/>
              <a:gd name="connsiteX1" fmla="*/ 1728192 w 1728192"/>
              <a:gd name="connsiteY1" fmla="*/ 0 h 1584846"/>
              <a:gd name="connsiteX2" fmla="*/ 1725513 w 1728192"/>
              <a:gd name="connsiteY2" fmla="*/ 591865 h 1584846"/>
              <a:gd name="connsiteX3" fmla="*/ 1418331 w 1728192"/>
              <a:gd name="connsiteY3" fmla="*/ 720452 h 1584846"/>
              <a:gd name="connsiteX4" fmla="*/ 1727894 w 1728192"/>
              <a:gd name="connsiteY4" fmla="*/ 813321 h 1584846"/>
              <a:gd name="connsiteX5" fmla="*/ 1728192 w 1728192"/>
              <a:gd name="connsiteY5" fmla="*/ 1584176 h 1584846"/>
              <a:gd name="connsiteX6" fmla="*/ 756344 w 1728192"/>
              <a:gd name="connsiteY6" fmla="*/ 1584846 h 1584846"/>
              <a:gd name="connsiteX7" fmla="*/ 0 w 1728192"/>
              <a:gd name="connsiteY7" fmla="*/ 1584176 h 1584846"/>
              <a:gd name="connsiteX8" fmla="*/ 0 w 1728192"/>
              <a:gd name="connsiteY8" fmla="*/ 0 h 1584846"/>
              <a:gd name="connsiteX0" fmla="*/ 0 w 1728192"/>
              <a:gd name="connsiteY0" fmla="*/ 0 h 1584846"/>
              <a:gd name="connsiteX1" fmla="*/ 1728192 w 1728192"/>
              <a:gd name="connsiteY1" fmla="*/ 0 h 1584846"/>
              <a:gd name="connsiteX2" fmla="*/ 1725513 w 1728192"/>
              <a:gd name="connsiteY2" fmla="*/ 591865 h 1584846"/>
              <a:gd name="connsiteX3" fmla="*/ 1418331 w 1728192"/>
              <a:gd name="connsiteY3" fmla="*/ 720452 h 1584846"/>
              <a:gd name="connsiteX4" fmla="*/ 1727894 w 1728192"/>
              <a:gd name="connsiteY4" fmla="*/ 813321 h 1584846"/>
              <a:gd name="connsiteX5" fmla="*/ 1728192 w 1728192"/>
              <a:gd name="connsiteY5" fmla="*/ 1584176 h 1584846"/>
              <a:gd name="connsiteX6" fmla="*/ 844451 w 1728192"/>
              <a:gd name="connsiteY6" fmla="*/ 1582465 h 1584846"/>
              <a:gd name="connsiteX7" fmla="*/ 756344 w 1728192"/>
              <a:gd name="connsiteY7" fmla="*/ 1584846 h 1584846"/>
              <a:gd name="connsiteX8" fmla="*/ 0 w 1728192"/>
              <a:gd name="connsiteY8" fmla="*/ 1584176 h 1584846"/>
              <a:gd name="connsiteX9" fmla="*/ 0 w 1728192"/>
              <a:gd name="connsiteY9" fmla="*/ 0 h 1584846"/>
              <a:gd name="connsiteX0" fmla="*/ 0 w 1728192"/>
              <a:gd name="connsiteY0" fmla="*/ 0 h 1584846"/>
              <a:gd name="connsiteX1" fmla="*/ 1728192 w 1728192"/>
              <a:gd name="connsiteY1" fmla="*/ 0 h 1584846"/>
              <a:gd name="connsiteX2" fmla="*/ 1725513 w 1728192"/>
              <a:gd name="connsiteY2" fmla="*/ 591865 h 1584846"/>
              <a:gd name="connsiteX3" fmla="*/ 1418331 w 1728192"/>
              <a:gd name="connsiteY3" fmla="*/ 720452 h 1584846"/>
              <a:gd name="connsiteX4" fmla="*/ 1727894 w 1728192"/>
              <a:gd name="connsiteY4" fmla="*/ 813321 h 1584846"/>
              <a:gd name="connsiteX5" fmla="*/ 1728192 w 1728192"/>
              <a:gd name="connsiteY5" fmla="*/ 1584176 h 1584846"/>
              <a:gd name="connsiteX6" fmla="*/ 915888 w 1728192"/>
              <a:gd name="connsiteY6" fmla="*/ 1584846 h 1584846"/>
              <a:gd name="connsiteX7" fmla="*/ 844451 w 1728192"/>
              <a:gd name="connsiteY7" fmla="*/ 1582465 h 1584846"/>
              <a:gd name="connsiteX8" fmla="*/ 756344 w 1728192"/>
              <a:gd name="connsiteY8" fmla="*/ 1584846 h 1584846"/>
              <a:gd name="connsiteX9" fmla="*/ 0 w 1728192"/>
              <a:gd name="connsiteY9" fmla="*/ 1584176 h 1584846"/>
              <a:gd name="connsiteX10" fmla="*/ 0 w 1728192"/>
              <a:gd name="connsiteY10" fmla="*/ 0 h 1584846"/>
              <a:gd name="connsiteX0" fmla="*/ 0 w 1728192"/>
              <a:gd name="connsiteY0" fmla="*/ 0 h 1584846"/>
              <a:gd name="connsiteX1" fmla="*/ 1728192 w 1728192"/>
              <a:gd name="connsiteY1" fmla="*/ 0 h 1584846"/>
              <a:gd name="connsiteX2" fmla="*/ 1725513 w 1728192"/>
              <a:gd name="connsiteY2" fmla="*/ 591865 h 1584846"/>
              <a:gd name="connsiteX3" fmla="*/ 1418331 w 1728192"/>
              <a:gd name="connsiteY3" fmla="*/ 720452 h 1584846"/>
              <a:gd name="connsiteX4" fmla="*/ 1727894 w 1728192"/>
              <a:gd name="connsiteY4" fmla="*/ 813321 h 1584846"/>
              <a:gd name="connsiteX5" fmla="*/ 1728192 w 1728192"/>
              <a:gd name="connsiteY5" fmla="*/ 1584176 h 1584846"/>
              <a:gd name="connsiteX6" fmla="*/ 915888 w 1728192"/>
              <a:gd name="connsiteY6" fmla="*/ 1584846 h 1584846"/>
              <a:gd name="connsiteX7" fmla="*/ 839688 w 1728192"/>
              <a:gd name="connsiteY7" fmla="*/ 1387202 h 1584846"/>
              <a:gd name="connsiteX8" fmla="*/ 756344 w 1728192"/>
              <a:gd name="connsiteY8" fmla="*/ 1584846 h 1584846"/>
              <a:gd name="connsiteX9" fmla="*/ 0 w 1728192"/>
              <a:gd name="connsiteY9" fmla="*/ 1584176 h 1584846"/>
              <a:gd name="connsiteX10" fmla="*/ 0 w 1728192"/>
              <a:gd name="connsiteY10" fmla="*/ 0 h 1584846"/>
              <a:gd name="connsiteX0" fmla="*/ 0 w 1728192"/>
              <a:gd name="connsiteY0" fmla="*/ 0 h 1584846"/>
              <a:gd name="connsiteX1" fmla="*/ 1728192 w 1728192"/>
              <a:gd name="connsiteY1" fmla="*/ 0 h 1584846"/>
              <a:gd name="connsiteX2" fmla="*/ 1725513 w 1728192"/>
              <a:gd name="connsiteY2" fmla="*/ 591865 h 1584846"/>
              <a:gd name="connsiteX3" fmla="*/ 1418331 w 1728192"/>
              <a:gd name="connsiteY3" fmla="*/ 720452 h 1584846"/>
              <a:gd name="connsiteX4" fmla="*/ 1727894 w 1728192"/>
              <a:gd name="connsiteY4" fmla="*/ 813321 h 1584846"/>
              <a:gd name="connsiteX5" fmla="*/ 1728192 w 1728192"/>
              <a:gd name="connsiteY5" fmla="*/ 1584176 h 1584846"/>
              <a:gd name="connsiteX6" fmla="*/ 915888 w 1728192"/>
              <a:gd name="connsiteY6" fmla="*/ 1584846 h 1584846"/>
              <a:gd name="connsiteX7" fmla="*/ 825401 w 1728192"/>
              <a:gd name="connsiteY7" fmla="*/ 1382439 h 1584846"/>
              <a:gd name="connsiteX8" fmla="*/ 756344 w 1728192"/>
              <a:gd name="connsiteY8" fmla="*/ 1584846 h 1584846"/>
              <a:gd name="connsiteX9" fmla="*/ 0 w 1728192"/>
              <a:gd name="connsiteY9" fmla="*/ 1584176 h 1584846"/>
              <a:gd name="connsiteX10" fmla="*/ 0 w 1728192"/>
              <a:gd name="connsiteY10" fmla="*/ 0 h 1584846"/>
              <a:gd name="connsiteX0" fmla="*/ 0 w 1728192"/>
              <a:gd name="connsiteY0" fmla="*/ 0 h 1584846"/>
              <a:gd name="connsiteX1" fmla="*/ 1728192 w 1728192"/>
              <a:gd name="connsiteY1" fmla="*/ 0 h 1584846"/>
              <a:gd name="connsiteX2" fmla="*/ 1725513 w 1728192"/>
              <a:gd name="connsiteY2" fmla="*/ 591865 h 1584846"/>
              <a:gd name="connsiteX3" fmla="*/ 1418331 w 1728192"/>
              <a:gd name="connsiteY3" fmla="*/ 720452 h 1584846"/>
              <a:gd name="connsiteX4" fmla="*/ 1727894 w 1728192"/>
              <a:gd name="connsiteY4" fmla="*/ 813321 h 1584846"/>
              <a:gd name="connsiteX5" fmla="*/ 1728192 w 1728192"/>
              <a:gd name="connsiteY5" fmla="*/ 1584176 h 1584846"/>
              <a:gd name="connsiteX6" fmla="*/ 915888 w 1728192"/>
              <a:gd name="connsiteY6" fmla="*/ 1584846 h 1584846"/>
              <a:gd name="connsiteX7" fmla="*/ 825401 w 1728192"/>
              <a:gd name="connsiteY7" fmla="*/ 1382439 h 1584846"/>
              <a:gd name="connsiteX8" fmla="*/ 756344 w 1728192"/>
              <a:gd name="connsiteY8" fmla="*/ 1584846 h 1584846"/>
              <a:gd name="connsiteX9" fmla="*/ 0 w 1728192"/>
              <a:gd name="connsiteY9" fmla="*/ 1584176 h 1584846"/>
              <a:gd name="connsiteX10" fmla="*/ 0 w 1728192"/>
              <a:gd name="connsiteY10" fmla="*/ 0 h 1584846"/>
              <a:gd name="connsiteX0" fmla="*/ 0 w 1728192"/>
              <a:gd name="connsiteY0" fmla="*/ 0 h 1584846"/>
              <a:gd name="connsiteX1" fmla="*/ 1728192 w 1728192"/>
              <a:gd name="connsiteY1" fmla="*/ 0 h 1584846"/>
              <a:gd name="connsiteX2" fmla="*/ 1725513 w 1728192"/>
              <a:gd name="connsiteY2" fmla="*/ 591865 h 1584846"/>
              <a:gd name="connsiteX3" fmla="*/ 1418331 w 1728192"/>
              <a:gd name="connsiteY3" fmla="*/ 720452 h 1584846"/>
              <a:gd name="connsiteX4" fmla="*/ 1727894 w 1728192"/>
              <a:gd name="connsiteY4" fmla="*/ 813321 h 1584846"/>
              <a:gd name="connsiteX5" fmla="*/ 1728192 w 1728192"/>
              <a:gd name="connsiteY5" fmla="*/ 1584176 h 1584846"/>
              <a:gd name="connsiteX6" fmla="*/ 915888 w 1728192"/>
              <a:gd name="connsiteY6" fmla="*/ 1584846 h 1584846"/>
              <a:gd name="connsiteX7" fmla="*/ 825401 w 1728192"/>
              <a:gd name="connsiteY7" fmla="*/ 1382439 h 1584846"/>
              <a:gd name="connsiteX8" fmla="*/ 756344 w 1728192"/>
              <a:gd name="connsiteY8" fmla="*/ 1584846 h 1584846"/>
              <a:gd name="connsiteX9" fmla="*/ 0 w 1728192"/>
              <a:gd name="connsiteY9" fmla="*/ 1584176 h 1584846"/>
              <a:gd name="connsiteX10" fmla="*/ 0 w 1728192"/>
              <a:gd name="connsiteY10" fmla="*/ 0 h 1584846"/>
              <a:gd name="connsiteX0" fmla="*/ 0 w 1728192"/>
              <a:gd name="connsiteY0" fmla="*/ 0 h 1584846"/>
              <a:gd name="connsiteX1" fmla="*/ 1728192 w 1728192"/>
              <a:gd name="connsiteY1" fmla="*/ 0 h 1584846"/>
              <a:gd name="connsiteX2" fmla="*/ 1725513 w 1728192"/>
              <a:gd name="connsiteY2" fmla="*/ 591865 h 1584846"/>
              <a:gd name="connsiteX3" fmla="*/ 1418331 w 1728192"/>
              <a:gd name="connsiteY3" fmla="*/ 720452 h 1584846"/>
              <a:gd name="connsiteX4" fmla="*/ 1727894 w 1728192"/>
              <a:gd name="connsiteY4" fmla="*/ 813321 h 1584846"/>
              <a:gd name="connsiteX5" fmla="*/ 1728192 w 1728192"/>
              <a:gd name="connsiteY5" fmla="*/ 1584176 h 1584846"/>
              <a:gd name="connsiteX6" fmla="*/ 915888 w 1728192"/>
              <a:gd name="connsiteY6" fmla="*/ 1584846 h 1584846"/>
              <a:gd name="connsiteX7" fmla="*/ 825401 w 1728192"/>
              <a:gd name="connsiteY7" fmla="*/ 1382439 h 1584846"/>
              <a:gd name="connsiteX8" fmla="*/ 756344 w 1728192"/>
              <a:gd name="connsiteY8" fmla="*/ 1584846 h 1584846"/>
              <a:gd name="connsiteX9" fmla="*/ 0 w 1728192"/>
              <a:gd name="connsiteY9" fmla="*/ 1584176 h 1584846"/>
              <a:gd name="connsiteX10" fmla="*/ 0 w 1728192"/>
              <a:gd name="connsiteY10" fmla="*/ 0 h 1584846"/>
              <a:gd name="connsiteX0" fmla="*/ 0 w 1728192"/>
              <a:gd name="connsiteY0" fmla="*/ 0 h 1584846"/>
              <a:gd name="connsiteX1" fmla="*/ 1728192 w 1728192"/>
              <a:gd name="connsiteY1" fmla="*/ 0 h 1584846"/>
              <a:gd name="connsiteX2" fmla="*/ 1725513 w 1728192"/>
              <a:gd name="connsiteY2" fmla="*/ 591865 h 1584846"/>
              <a:gd name="connsiteX3" fmla="*/ 1418331 w 1728192"/>
              <a:gd name="connsiteY3" fmla="*/ 720452 h 1584846"/>
              <a:gd name="connsiteX4" fmla="*/ 1727894 w 1728192"/>
              <a:gd name="connsiteY4" fmla="*/ 813321 h 1584846"/>
              <a:gd name="connsiteX5" fmla="*/ 1728192 w 1728192"/>
              <a:gd name="connsiteY5" fmla="*/ 1584176 h 1584846"/>
              <a:gd name="connsiteX6" fmla="*/ 915888 w 1728192"/>
              <a:gd name="connsiteY6" fmla="*/ 1584846 h 1584846"/>
              <a:gd name="connsiteX7" fmla="*/ 830164 w 1728192"/>
              <a:gd name="connsiteY7" fmla="*/ 1265757 h 1584846"/>
              <a:gd name="connsiteX8" fmla="*/ 756344 w 1728192"/>
              <a:gd name="connsiteY8" fmla="*/ 1584846 h 1584846"/>
              <a:gd name="connsiteX9" fmla="*/ 0 w 1728192"/>
              <a:gd name="connsiteY9" fmla="*/ 1584176 h 1584846"/>
              <a:gd name="connsiteX10" fmla="*/ 0 w 1728192"/>
              <a:gd name="connsiteY10" fmla="*/ 0 h 1584846"/>
              <a:gd name="connsiteX0" fmla="*/ 0 w 1728192"/>
              <a:gd name="connsiteY0" fmla="*/ 0 h 1587228"/>
              <a:gd name="connsiteX1" fmla="*/ 1728192 w 1728192"/>
              <a:gd name="connsiteY1" fmla="*/ 0 h 1587228"/>
              <a:gd name="connsiteX2" fmla="*/ 1725513 w 1728192"/>
              <a:gd name="connsiteY2" fmla="*/ 591865 h 1587228"/>
              <a:gd name="connsiteX3" fmla="*/ 1418331 w 1728192"/>
              <a:gd name="connsiteY3" fmla="*/ 720452 h 1587228"/>
              <a:gd name="connsiteX4" fmla="*/ 1727894 w 1728192"/>
              <a:gd name="connsiteY4" fmla="*/ 813321 h 1587228"/>
              <a:gd name="connsiteX5" fmla="*/ 1728192 w 1728192"/>
              <a:gd name="connsiteY5" fmla="*/ 1584176 h 1587228"/>
              <a:gd name="connsiteX6" fmla="*/ 956370 w 1728192"/>
              <a:gd name="connsiteY6" fmla="*/ 1587228 h 1587228"/>
              <a:gd name="connsiteX7" fmla="*/ 830164 w 1728192"/>
              <a:gd name="connsiteY7" fmla="*/ 1265757 h 1587228"/>
              <a:gd name="connsiteX8" fmla="*/ 756344 w 1728192"/>
              <a:gd name="connsiteY8" fmla="*/ 1584846 h 1587228"/>
              <a:gd name="connsiteX9" fmla="*/ 0 w 1728192"/>
              <a:gd name="connsiteY9" fmla="*/ 1584176 h 1587228"/>
              <a:gd name="connsiteX10" fmla="*/ 0 w 1728192"/>
              <a:gd name="connsiteY10" fmla="*/ 0 h 1587228"/>
              <a:gd name="connsiteX0" fmla="*/ 0 w 1728192"/>
              <a:gd name="connsiteY0" fmla="*/ 0 h 1587228"/>
              <a:gd name="connsiteX1" fmla="*/ 1728192 w 1728192"/>
              <a:gd name="connsiteY1" fmla="*/ 0 h 1587228"/>
              <a:gd name="connsiteX2" fmla="*/ 1725513 w 1728192"/>
              <a:gd name="connsiteY2" fmla="*/ 591865 h 1587228"/>
              <a:gd name="connsiteX3" fmla="*/ 1418331 w 1728192"/>
              <a:gd name="connsiteY3" fmla="*/ 720452 h 1587228"/>
              <a:gd name="connsiteX4" fmla="*/ 1727894 w 1728192"/>
              <a:gd name="connsiteY4" fmla="*/ 813321 h 1587228"/>
              <a:gd name="connsiteX5" fmla="*/ 1728192 w 1728192"/>
              <a:gd name="connsiteY5" fmla="*/ 1584176 h 1587228"/>
              <a:gd name="connsiteX6" fmla="*/ 956370 w 1728192"/>
              <a:gd name="connsiteY6" fmla="*/ 1587228 h 1587228"/>
              <a:gd name="connsiteX7" fmla="*/ 830164 w 1728192"/>
              <a:gd name="connsiteY7" fmla="*/ 1265757 h 1587228"/>
              <a:gd name="connsiteX8" fmla="*/ 682526 w 1728192"/>
              <a:gd name="connsiteY8" fmla="*/ 1572940 h 1587228"/>
              <a:gd name="connsiteX9" fmla="*/ 0 w 1728192"/>
              <a:gd name="connsiteY9" fmla="*/ 1584176 h 1587228"/>
              <a:gd name="connsiteX10" fmla="*/ 0 w 1728192"/>
              <a:gd name="connsiteY10" fmla="*/ 0 h 1587228"/>
              <a:gd name="connsiteX0" fmla="*/ 0 w 1728192"/>
              <a:gd name="connsiteY0" fmla="*/ 0 h 1587228"/>
              <a:gd name="connsiteX1" fmla="*/ 1728192 w 1728192"/>
              <a:gd name="connsiteY1" fmla="*/ 0 h 1587228"/>
              <a:gd name="connsiteX2" fmla="*/ 1725513 w 1728192"/>
              <a:gd name="connsiteY2" fmla="*/ 591865 h 1587228"/>
              <a:gd name="connsiteX3" fmla="*/ 1418331 w 1728192"/>
              <a:gd name="connsiteY3" fmla="*/ 720452 h 1587228"/>
              <a:gd name="connsiteX4" fmla="*/ 1727894 w 1728192"/>
              <a:gd name="connsiteY4" fmla="*/ 813321 h 1587228"/>
              <a:gd name="connsiteX5" fmla="*/ 1728192 w 1728192"/>
              <a:gd name="connsiteY5" fmla="*/ 1584176 h 1587228"/>
              <a:gd name="connsiteX6" fmla="*/ 956370 w 1728192"/>
              <a:gd name="connsiteY6" fmla="*/ 1587228 h 1587228"/>
              <a:gd name="connsiteX7" fmla="*/ 830164 w 1728192"/>
              <a:gd name="connsiteY7" fmla="*/ 1265757 h 1587228"/>
              <a:gd name="connsiteX8" fmla="*/ 682526 w 1728192"/>
              <a:gd name="connsiteY8" fmla="*/ 1572940 h 1587228"/>
              <a:gd name="connsiteX9" fmla="*/ 0 w 1728192"/>
              <a:gd name="connsiteY9" fmla="*/ 1584176 h 1587228"/>
              <a:gd name="connsiteX10" fmla="*/ 0 w 1728192"/>
              <a:gd name="connsiteY10" fmla="*/ 0 h 158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8192" h="1587228">
                <a:moveTo>
                  <a:pt x="0" y="0"/>
                </a:moveTo>
                <a:lnTo>
                  <a:pt x="1728192" y="0"/>
                </a:lnTo>
                <a:lnTo>
                  <a:pt x="1725513" y="591865"/>
                </a:lnTo>
                <a:cubicBezTo>
                  <a:pt x="1725463" y="709559"/>
                  <a:pt x="1413171" y="359693"/>
                  <a:pt x="1418331" y="720452"/>
                </a:cubicBezTo>
                <a:cubicBezTo>
                  <a:pt x="1423491" y="1081211"/>
                  <a:pt x="1727844" y="666986"/>
                  <a:pt x="1727894" y="813321"/>
                </a:cubicBezTo>
                <a:cubicBezTo>
                  <a:pt x="1727993" y="1070273"/>
                  <a:pt x="1728093" y="1327224"/>
                  <a:pt x="1728192" y="1584176"/>
                </a:cubicBezTo>
                <a:lnTo>
                  <a:pt x="956370" y="1587228"/>
                </a:lnTo>
                <a:cubicBezTo>
                  <a:pt x="805905" y="1553605"/>
                  <a:pt x="1194893" y="1268138"/>
                  <a:pt x="830164" y="1265757"/>
                </a:cubicBezTo>
                <a:cubicBezTo>
                  <a:pt x="465435" y="1263376"/>
                  <a:pt x="820093" y="1539317"/>
                  <a:pt x="682526" y="1572940"/>
                </a:cubicBezTo>
                <a:lnTo>
                  <a:pt x="0" y="1584176"/>
                </a:lnTo>
                <a:lnTo>
                  <a:pt x="0" y="0"/>
                </a:lnTo>
                <a:close/>
              </a:path>
            </a:pathLst>
          </a:custGeom>
          <a:solidFill>
            <a:srgbClr val="C0C0C0"/>
          </a:solidFill>
          <a:ln w="28575" cap="flat" cmpd="sng" algn="ctr">
            <a:solidFill>
              <a:schemeClr val="tx2"/>
            </a:solidFill>
            <a:prstDash val="solid"/>
            <a:round/>
            <a:headEnd type="none" w="med" len="med"/>
            <a:tailEnd type="none" w="med" len="med"/>
          </a:ln>
          <a:effectLst/>
          <a:extLst/>
        </p:spPr>
        <p:txBody>
          <a:bodyPr vert="horz" wrap="square" lIns="72000" tIns="72000" rIns="72000" bIns="72000" numCol="1" rtlCol="0" anchor="t" anchorCtr="0" compatLnSpc="1">
            <a:prstTxWarp prst="textNoShape">
              <a:avLst/>
            </a:prstTxWarp>
          </a:bodyPr>
          <a:lstStyle/>
          <a:p>
            <a:endParaRPr lang="de-CH" b="1" dirty="0">
              <a:solidFill>
                <a:schemeClr val="tx2"/>
              </a:solidFill>
              <a:latin typeface="EYInterstate Light" panose="02000506000000020004" pitchFamily="2" charset="0"/>
            </a:endParaRPr>
          </a:p>
        </p:txBody>
      </p:sp>
      <p:sp>
        <p:nvSpPr>
          <p:cNvPr id="7" name="Rectangle 31"/>
          <p:cNvSpPr/>
          <p:nvPr/>
        </p:nvSpPr>
        <p:spPr bwMode="auto">
          <a:xfrm>
            <a:off x="3765189" y="1621411"/>
            <a:ext cx="2529516" cy="1379612"/>
          </a:xfrm>
          <a:custGeom>
            <a:avLst/>
            <a:gdLst/>
            <a:ahLst/>
            <a:cxnLst/>
            <a:rect l="l" t="t" r="r" b="b"/>
            <a:pathLst>
              <a:path w="1717526" h="1440160">
                <a:moveTo>
                  <a:pt x="288032" y="1437391"/>
                </a:moveTo>
                <a:lnTo>
                  <a:pt x="288032" y="1440160"/>
                </a:lnTo>
                <a:lnTo>
                  <a:pt x="0" y="1440160"/>
                </a:lnTo>
                <a:lnTo>
                  <a:pt x="0" y="1438631"/>
                </a:lnTo>
                <a:close/>
                <a:moveTo>
                  <a:pt x="288032" y="0"/>
                </a:moveTo>
                <a:lnTo>
                  <a:pt x="1717526" y="0"/>
                </a:lnTo>
                <a:lnTo>
                  <a:pt x="1715294" y="537025"/>
                </a:lnTo>
                <a:cubicBezTo>
                  <a:pt x="1715252" y="643813"/>
                  <a:pt x="1455009" y="326365"/>
                  <a:pt x="1459309" y="653697"/>
                </a:cubicBezTo>
                <a:cubicBezTo>
                  <a:pt x="1463609" y="981029"/>
                  <a:pt x="1717236" y="605185"/>
                  <a:pt x="1717278" y="737961"/>
                </a:cubicBezTo>
                <a:cubicBezTo>
                  <a:pt x="1717360" y="970320"/>
                  <a:pt x="1717444" y="1202677"/>
                  <a:pt x="1717525" y="1435036"/>
                </a:cubicBezTo>
                <a:lnTo>
                  <a:pt x="1191168" y="1432848"/>
                </a:lnTo>
                <a:cubicBezTo>
                  <a:pt x="1084379" y="1432806"/>
                  <a:pt x="1401828" y="1172563"/>
                  <a:pt x="1074495" y="1176863"/>
                </a:cubicBezTo>
                <a:cubicBezTo>
                  <a:pt x="747163" y="1181163"/>
                  <a:pt x="1123007" y="1434790"/>
                  <a:pt x="990231" y="1434832"/>
                </a:cubicBezTo>
                <a:cubicBezTo>
                  <a:pt x="757088" y="1434914"/>
                  <a:pt x="523945" y="1434998"/>
                  <a:pt x="290801" y="1435080"/>
                </a:cubicBezTo>
                <a:lnTo>
                  <a:pt x="289561" y="1147048"/>
                </a:lnTo>
                <a:lnTo>
                  <a:pt x="288032" y="1147048"/>
                </a:lnTo>
                <a:lnTo>
                  <a:pt x="288032" y="1437391"/>
                </a:lnTo>
                <a:cubicBezTo>
                  <a:pt x="287949" y="1204248"/>
                  <a:pt x="287866" y="971105"/>
                  <a:pt x="287784" y="737962"/>
                </a:cubicBezTo>
                <a:cubicBezTo>
                  <a:pt x="287742" y="605186"/>
                  <a:pt x="34115" y="981030"/>
                  <a:pt x="29815" y="653698"/>
                </a:cubicBezTo>
                <a:cubicBezTo>
                  <a:pt x="25515" y="326365"/>
                  <a:pt x="285758" y="643814"/>
                  <a:pt x="285799" y="537025"/>
                </a:cubicBezTo>
                <a:close/>
              </a:path>
            </a:pathLst>
          </a:custGeom>
          <a:solidFill>
            <a:srgbClr val="C0C0C0"/>
          </a:solidFill>
          <a:ln w="2857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324000" tIns="72000" rIns="72000" bIns="72000" numCol="1" spcCol="0" rtlCol="0" fromWordArt="0" anchor="t" anchorCtr="0" forceAA="0" compatLnSpc="1">
            <a:prstTxWarp prst="textNoShape">
              <a:avLst/>
            </a:prstTxWarp>
            <a:noAutofit/>
          </a:bodyPr>
          <a:lstStyle/>
          <a:p>
            <a:endParaRPr lang="de-CH" b="1" dirty="0">
              <a:solidFill>
                <a:schemeClr val="tx2"/>
              </a:solidFill>
              <a:latin typeface="EYInterstate Light" panose="02000506000000020004" pitchFamily="2" charset="0"/>
            </a:endParaRPr>
          </a:p>
        </p:txBody>
      </p:sp>
      <p:sp>
        <p:nvSpPr>
          <p:cNvPr id="8" name="Rectangle 31"/>
          <p:cNvSpPr/>
          <p:nvPr/>
        </p:nvSpPr>
        <p:spPr bwMode="auto">
          <a:xfrm>
            <a:off x="5888669" y="1621412"/>
            <a:ext cx="2394552" cy="1379612"/>
          </a:xfrm>
          <a:custGeom>
            <a:avLst/>
            <a:gdLst/>
            <a:ahLst/>
            <a:cxnLst/>
            <a:rect l="l" t="t" r="r" b="b"/>
            <a:pathLst>
              <a:path w="2592288" h="2160240">
                <a:moveTo>
                  <a:pt x="432048" y="2156086"/>
                </a:moveTo>
                <a:lnTo>
                  <a:pt x="432048" y="2160240"/>
                </a:lnTo>
                <a:lnTo>
                  <a:pt x="0" y="2160240"/>
                </a:lnTo>
                <a:lnTo>
                  <a:pt x="0" y="2157946"/>
                </a:lnTo>
                <a:close/>
                <a:moveTo>
                  <a:pt x="432048" y="0"/>
                </a:moveTo>
                <a:lnTo>
                  <a:pt x="2592288" y="0"/>
                </a:lnTo>
                <a:lnTo>
                  <a:pt x="2592288" y="2152620"/>
                </a:lnTo>
                <a:lnTo>
                  <a:pt x="1786751" y="2149271"/>
                </a:lnTo>
                <a:cubicBezTo>
                  <a:pt x="1626568" y="2149209"/>
                  <a:pt x="2102741" y="1758844"/>
                  <a:pt x="1611742" y="1765294"/>
                </a:cubicBezTo>
                <a:cubicBezTo>
                  <a:pt x="1120744" y="1771744"/>
                  <a:pt x="1684510" y="2152185"/>
                  <a:pt x="1485346" y="2152248"/>
                </a:cubicBezTo>
                <a:cubicBezTo>
                  <a:pt x="1135631" y="2152371"/>
                  <a:pt x="785917" y="2152496"/>
                  <a:pt x="436202" y="2152620"/>
                </a:cubicBezTo>
                <a:lnTo>
                  <a:pt x="434342" y="1720572"/>
                </a:lnTo>
                <a:lnTo>
                  <a:pt x="432048" y="1720572"/>
                </a:lnTo>
                <a:lnTo>
                  <a:pt x="432048" y="2156086"/>
                </a:lnTo>
                <a:cubicBezTo>
                  <a:pt x="431924" y="1806371"/>
                  <a:pt x="431799" y="1456657"/>
                  <a:pt x="431676" y="1106942"/>
                </a:cubicBezTo>
                <a:cubicBezTo>
                  <a:pt x="431613" y="907778"/>
                  <a:pt x="51172" y="1471544"/>
                  <a:pt x="44722" y="980546"/>
                </a:cubicBezTo>
                <a:cubicBezTo>
                  <a:pt x="38272" y="489547"/>
                  <a:pt x="428637" y="965720"/>
                  <a:pt x="428699" y="805537"/>
                </a:cubicBezTo>
                <a:close/>
              </a:path>
            </a:pathLst>
          </a:custGeom>
          <a:solidFill>
            <a:srgbClr val="C0C0C0"/>
          </a:solidFill>
          <a:ln w="2857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324000" tIns="72000" rIns="72000" bIns="72000" numCol="1" spcCol="0" rtlCol="0" fromWordArt="0" anchor="t" anchorCtr="0" forceAA="0" compatLnSpc="1">
            <a:prstTxWarp prst="textNoShape">
              <a:avLst/>
            </a:prstTxWarp>
            <a:noAutofit/>
          </a:bodyPr>
          <a:lstStyle/>
          <a:p>
            <a:endParaRPr lang="de-CH" b="1" dirty="0">
              <a:solidFill>
                <a:schemeClr val="tx2"/>
              </a:solidFill>
              <a:latin typeface="EYInterstate Light" panose="02000506000000020004" pitchFamily="2" charset="0"/>
            </a:endParaRPr>
          </a:p>
        </p:txBody>
      </p:sp>
      <p:sp>
        <p:nvSpPr>
          <p:cNvPr id="9" name="Rectangle 75"/>
          <p:cNvSpPr/>
          <p:nvPr/>
        </p:nvSpPr>
        <p:spPr bwMode="auto">
          <a:xfrm>
            <a:off x="5785993" y="2762896"/>
            <a:ext cx="2501808" cy="1516609"/>
          </a:xfrm>
          <a:custGeom>
            <a:avLst/>
            <a:gdLst/>
            <a:ahLst/>
            <a:cxnLst/>
            <a:rect l="l" t="t" r="r" b="b"/>
            <a:pathLst>
              <a:path w="1811660" h="1694604">
                <a:moveTo>
                  <a:pt x="363612" y="257853"/>
                </a:moveTo>
                <a:lnTo>
                  <a:pt x="371499" y="257853"/>
                </a:lnTo>
                <a:lnTo>
                  <a:pt x="371500" y="260581"/>
                </a:lnTo>
                <a:lnTo>
                  <a:pt x="363612" y="260615"/>
                </a:lnTo>
                <a:close/>
                <a:moveTo>
                  <a:pt x="1157963" y="53"/>
                </a:moveTo>
                <a:cubicBezTo>
                  <a:pt x="1485295" y="-4247"/>
                  <a:pt x="1167847" y="255996"/>
                  <a:pt x="1274635" y="256038"/>
                </a:cubicBezTo>
                <a:lnTo>
                  <a:pt x="1811660" y="258270"/>
                </a:lnTo>
                <a:lnTo>
                  <a:pt x="1811660" y="1694604"/>
                </a:lnTo>
                <a:lnTo>
                  <a:pt x="0" y="1694604"/>
                </a:lnTo>
                <a:lnTo>
                  <a:pt x="0" y="1694603"/>
                </a:lnTo>
                <a:lnTo>
                  <a:pt x="360842" y="1694603"/>
                </a:lnTo>
                <a:lnTo>
                  <a:pt x="350648" y="1125830"/>
                </a:lnTo>
                <a:cubicBezTo>
                  <a:pt x="320140" y="1011192"/>
                  <a:pt x="69767" y="1306740"/>
                  <a:pt x="71927" y="1002799"/>
                </a:cubicBezTo>
                <a:cubicBezTo>
                  <a:pt x="74088" y="698858"/>
                  <a:pt x="333104" y="1023015"/>
                  <a:pt x="363612" y="897627"/>
                </a:cubicBezTo>
                <a:lnTo>
                  <a:pt x="362082" y="542474"/>
                </a:lnTo>
                <a:lnTo>
                  <a:pt x="363612" y="542474"/>
                </a:lnTo>
                <a:lnTo>
                  <a:pt x="363612" y="263350"/>
                </a:lnTo>
                <a:lnTo>
                  <a:pt x="371500" y="263350"/>
                </a:lnTo>
                <a:lnTo>
                  <a:pt x="371500" y="260581"/>
                </a:lnTo>
                <a:lnTo>
                  <a:pt x="371500" y="257853"/>
                </a:lnTo>
                <a:lnTo>
                  <a:pt x="374268" y="257853"/>
                </a:lnTo>
                <a:lnTo>
                  <a:pt x="374270" y="258270"/>
                </a:lnTo>
                <a:cubicBezTo>
                  <a:pt x="607413" y="258188"/>
                  <a:pt x="840555" y="258104"/>
                  <a:pt x="1073699" y="258022"/>
                </a:cubicBezTo>
                <a:cubicBezTo>
                  <a:pt x="1206475" y="257980"/>
                  <a:pt x="830631" y="4353"/>
                  <a:pt x="1157963" y="53"/>
                </a:cubicBezTo>
                <a:close/>
              </a:path>
            </a:pathLst>
          </a:custGeom>
          <a:solidFill>
            <a:srgbClr val="C0C0C0"/>
          </a:solidFill>
          <a:ln w="2857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288000" tIns="360000" rIns="72000" bIns="72000" numCol="1" spcCol="0" rtlCol="0" fromWordArt="0" anchor="t" anchorCtr="0" forceAA="0" compatLnSpc="1">
            <a:prstTxWarp prst="textNoShape">
              <a:avLst/>
            </a:prstTxWarp>
            <a:noAutofit/>
          </a:bodyPr>
          <a:lstStyle/>
          <a:p>
            <a:endParaRPr lang="de-CH" b="1" dirty="0">
              <a:solidFill>
                <a:schemeClr val="tx2"/>
              </a:solidFill>
              <a:latin typeface="EYInterstate Light" panose="02000506000000020004" pitchFamily="2" charset="0"/>
            </a:endParaRPr>
          </a:p>
        </p:txBody>
      </p:sp>
      <p:sp>
        <p:nvSpPr>
          <p:cNvPr id="10" name="Rectangle 35"/>
          <p:cNvSpPr/>
          <p:nvPr/>
        </p:nvSpPr>
        <p:spPr bwMode="auto">
          <a:xfrm>
            <a:off x="2109005" y="2512865"/>
            <a:ext cx="2448272" cy="1782023"/>
          </a:xfrm>
          <a:custGeom>
            <a:avLst/>
            <a:gdLst/>
            <a:ahLst/>
            <a:cxnLst/>
            <a:rect l="l" t="t" r="r" b="b"/>
            <a:pathLst>
              <a:path w="2555266" h="2952328">
                <a:moveTo>
                  <a:pt x="2159958" y="0"/>
                </a:moveTo>
                <a:lnTo>
                  <a:pt x="2159959" y="0"/>
                </a:lnTo>
                <a:lnTo>
                  <a:pt x="2160226" y="753512"/>
                </a:lnTo>
                <a:lnTo>
                  <a:pt x="2160226" y="753512"/>
                </a:lnTo>
                <a:cubicBezTo>
                  <a:pt x="2160137" y="502341"/>
                  <a:pt x="2160047" y="251171"/>
                  <a:pt x="2159958" y="0"/>
                </a:cubicBezTo>
                <a:close/>
                <a:moveTo>
                  <a:pt x="0" y="0"/>
                </a:moveTo>
                <a:lnTo>
                  <a:pt x="1" y="0"/>
                </a:lnTo>
                <a:lnTo>
                  <a:pt x="1" y="796841"/>
                </a:lnTo>
                <a:lnTo>
                  <a:pt x="853159" y="781549"/>
                </a:lnTo>
                <a:cubicBezTo>
                  <a:pt x="1025117" y="735788"/>
                  <a:pt x="581795" y="360228"/>
                  <a:pt x="1037706" y="363468"/>
                </a:cubicBezTo>
                <a:cubicBezTo>
                  <a:pt x="1493617" y="366709"/>
                  <a:pt x="1007382" y="755234"/>
                  <a:pt x="1195464" y="800995"/>
                </a:cubicBezTo>
                <a:lnTo>
                  <a:pt x="1728193" y="798701"/>
                </a:lnTo>
                <a:lnTo>
                  <a:pt x="1728193" y="800995"/>
                </a:lnTo>
                <a:lnTo>
                  <a:pt x="2160241" y="800995"/>
                </a:lnTo>
                <a:lnTo>
                  <a:pt x="2160241" y="799231"/>
                </a:lnTo>
                <a:lnTo>
                  <a:pt x="2167862" y="799231"/>
                </a:lnTo>
                <a:cubicBezTo>
                  <a:pt x="2167986" y="1147950"/>
                  <a:pt x="2168111" y="1496667"/>
                  <a:pt x="2168233" y="1845386"/>
                </a:cubicBezTo>
                <a:cubicBezTo>
                  <a:pt x="2168296" y="2044550"/>
                  <a:pt x="2548737" y="1480784"/>
                  <a:pt x="2555187" y="1971782"/>
                </a:cubicBezTo>
                <a:cubicBezTo>
                  <a:pt x="2561637" y="2462781"/>
                  <a:pt x="2171272" y="1986608"/>
                  <a:pt x="2171210" y="2146791"/>
                </a:cubicBezTo>
                <a:lnTo>
                  <a:pt x="2167861" y="2952328"/>
                </a:lnTo>
                <a:lnTo>
                  <a:pt x="0" y="2952328"/>
                </a:lnTo>
                <a:close/>
              </a:path>
            </a:pathLst>
          </a:custGeom>
          <a:solidFill>
            <a:srgbClr val="C0C0C0"/>
          </a:solidFill>
          <a:ln w="2857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72000" tIns="612000" rIns="216000" bIns="72000" numCol="1" spcCol="0" rtlCol="0" fromWordArt="0" anchor="t" anchorCtr="0" forceAA="0" compatLnSpc="1">
            <a:prstTxWarp prst="textNoShape">
              <a:avLst/>
            </a:prstTxWarp>
            <a:noAutofit/>
          </a:bodyPr>
          <a:lstStyle/>
          <a:p>
            <a:endParaRPr lang="de-CH" b="1" dirty="0">
              <a:solidFill>
                <a:schemeClr val="tx2"/>
              </a:solidFill>
              <a:latin typeface="EYInterstate Light" panose="02000506000000020004" pitchFamily="2" charset="0"/>
            </a:endParaRPr>
          </a:p>
        </p:txBody>
      </p:sp>
      <p:sp>
        <p:nvSpPr>
          <p:cNvPr id="11" name="Rectangle 75"/>
          <p:cNvSpPr/>
          <p:nvPr/>
        </p:nvSpPr>
        <p:spPr bwMode="auto">
          <a:xfrm>
            <a:off x="5776651" y="4057105"/>
            <a:ext cx="2511150" cy="1465164"/>
          </a:xfrm>
          <a:custGeom>
            <a:avLst/>
            <a:gdLst/>
            <a:ahLst/>
            <a:cxnLst/>
            <a:rect l="l" t="t" r="r" b="b"/>
            <a:pathLst>
              <a:path w="1811660" h="1694604">
                <a:moveTo>
                  <a:pt x="363612" y="257853"/>
                </a:moveTo>
                <a:lnTo>
                  <a:pt x="371499" y="257853"/>
                </a:lnTo>
                <a:lnTo>
                  <a:pt x="371500" y="260581"/>
                </a:lnTo>
                <a:lnTo>
                  <a:pt x="363612" y="260615"/>
                </a:lnTo>
                <a:close/>
                <a:moveTo>
                  <a:pt x="1157963" y="53"/>
                </a:moveTo>
                <a:cubicBezTo>
                  <a:pt x="1485295" y="-4247"/>
                  <a:pt x="1167847" y="255996"/>
                  <a:pt x="1274635" y="256038"/>
                </a:cubicBezTo>
                <a:lnTo>
                  <a:pt x="1811660" y="258270"/>
                </a:lnTo>
                <a:lnTo>
                  <a:pt x="1811660" y="1694604"/>
                </a:lnTo>
                <a:lnTo>
                  <a:pt x="0" y="1694604"/>
                </a:lnTo>
                <a:lnTo>
                  <a:pt x="0" y="1694603"/>
                </a:lnTo>
                <a:lnTo>
                  <a:pt x="360842" y="1694603"/>
                </a:lnTo>
                <a:lnTo>
                  <a:pt x="350648" y="1125830"/>
                </a:lnTo>
                <a:cubicBezTo>
                  <a:pt x="320140" y="1011192"/>
                  <a:pt x="69767" y="1306740"/>
                  <a:pt x="71927" y="1002799"/>
                </a:cubicBezTo>
                <a:cubicBezTo>
                  <a:pt x="74088" y="698858"/>
                  <a:pt x="333104" y="1023015"/>
                  <a:pt x="363612" y="897627"/>
                </a:cubicBezTo>
                <a:lnTo>
                  <a:pt x="362082" y="542474"/>
                </a:lnTo>
                <a:lnTo>
                  <a:pt x="363612" y="542474"/>
                </a:lnTo>
                <a:lnTo>
                  <a:pt x="363612" y="263350"/>
                </a:lnTo>
                <a:lnTo>
                  <a:pt x="371500" y="263350"/>
                </a:lnTo>
                <a:lnTo>
                  <a:pt x="371500" y="260581"/>
                </a:lnTo>
                <a:lnTo>
                  <a:pt x="371500" y="257853"/>
                </a:lnTo>
                <a:lnTo>
                  <a:pt x="374268" y="257853"/>
                </a:lnTo>
                <a:lnTo>
                  <a:pt x="374270" y="258270"/>
                </a:lnTo>
                <a:cubicBezTo>
                  <a:pt x="607413" y="258188"/>
                  <a:pt x="840555" y="258104"/>
                  <a:pt x="1073699" y="258022"/>
                </a:cubicBezTo>
                <a:cubicBezTo>
                  <a:pt x="1206475" y="257980"/>
                  <a:pt x="830631" y="4353"/>
                  <a:pt x="1157963" y="53"/>
                </a:cubicBezTo>
                <a:close/>
              </a:path>
            </a:pathLst>
          </a:custGeom>
          <a:solidFill>
            <a:srgbClr val="C0C0C0"/>
          </a:solidFill>
          <a:ln w="2857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288000" tIns="360000" rIns="72000" bIns="72000" numCol="1" spcCol="0" rtlCol="0" fromWordArt="0" anchor="t" anchorCtr="0" forceAA="0" compatLnSpc="1">
            <a:prstTxWarp prst="textNoShape">
              <a:avLst/>
            </a:prstTxWarp>
            <a:noAutofit/>
          </a:bodyPr>
          <a:lstStyle/>
          <a:p>
            <a:endParaRPr lang="de-CH" b="1" dirty="0">
              <a:solidFill>
                <a:schemeClr val="tx2"/>
              </a:solidFill>
              <a:latin typeface="EYInterstate Light" panose="02000506000000020004" pitchFamily="2" charset="0"/>
            </a:endParaRPr>
          </a:p>
        </p:txBody>
      </p:sp>
      <p:sp>
        <p:nvSpPr>
          <p:cNvPr id="12" name="Rectangle 31"/>
          <p:cNvSpPr/>
          <p:nvPr/>
        </p:nvSpPr>
        <p:spPr bwMode="auto">
          <a:xfrm rot="5400000">
            <a:off x="4497745" y="3719253"/>
            <a:ext cx="1490565" cy="2115470"/>
          </a:xfrm>
          <a:custGeom>
            <a:avLst/>
            <a:gdLst/>
            <a:ahLst/>
            <a:cxnLst/>
            <a:rect l="l" t="t" r="r" b="b"/>
            <a:pathLst>
              <a:path w="1728192" h="1428586">
                <a:moveTo>
                  <a:pt x="288041" y="31656"/>
                </a:moveTo>
                <a:lnTo>
                  <a:pt x="288219" y="533997"/>
                </a:lnTo>
                <a:lnTo>
                  <a:pt x="288220" y="533997"/>
                </a:lnTo>
                <a:close/>
                <a:moveTo>
                  <a:pt x="29815" y="642123"/>
                </a:moveTo>
                <a:cubicBezTo>
                  <a:pt x="25515" y="314791"/>
                  <a:pt x="285758" y="632239"/>
                  <a:pt x="285799" y="525451"/>
                </a:cubicBezTo>
                <a:lnTo>
                  <a:pt x="287979" y="1176"/>
                </a:lnTo>
                <a:lnTo>
                  <a:pt x="288031" y="1176"/>
                </a:lnTo>
                <a:lnTo>
                  <a:pt x="288031" y="0"/>
                </a:lnTo>
                <a:lnTo>
                  <a:pt x="576063" y="0"/>
                </a:lnTo>
                <a:lnTo>
                  <a:pt x="576063" y="1530"/>
                </a:lnTo>
                <a:lnTo>
                  <a:pt x="931216" y="0"/>
                </a:lnTo>
                <a:cubicBezTo>
                  <a:pt x="1056604" y="30508"/>
                  <a:pt x="732447" y="289524"/>
                  <a:pt x="1036388" y="291685"/>
                </a:cubicBezTo>
                <a:cubicBezTo>
                  <a:pt x="1340329" y="293845"/>
                  <a:pt x="1044781" y="43472"/>
                  <a:pt x="1159419" y="12964"/>
                </a:cubicBezTo>
                <a:lnTo>
                  <a:pt x="1728192" y="2770"/>
                </a:lnTo>
                <a:lnTo>
                  <a:pt x="1728192" y="533997"/>
                </a:lnTo>
                <a:lnTo>
                  <a:pt x="1728192" y="533997"/>
                </a:lnTo>
                <a:lnTo>
                  <a:pt x="1728192" y="1423506"/>
                </a:lnTo>
                <a:lnTo>
                  <a:pt x="1191168" y="1421273"/>
                </a:lnTo>
                <a:cubicBezTo>
                  <a:pt x="1084379" y="1421232"/>
                  <a:pt x="1401828" y="1160989"/>
                  <a:pt x="1074495" y="1165289"/>
                </a:cubicBezTo>
                <a:cubicBezTo>
                  <a:pt x="747163" y="1169589"/>
                  <a:pt x="1123007" y="1423216"/>
                  <a:pt x="990231" y="1423258"/>
                </a:cubicBezTo>
                <a:cubicBezTo>
                  <a:pt x="757088" y="1423340"/>
                  <a:pt x="523945" y="1423423"/>
                  <a:pt x="290801" y="1423506"/>
                </a:cubicBezTo>
                <a:lnTo>
                  <a:pt x="289561" y="1135474"/>
                </a:lnTo>
                <a:lnTo>
                  <a:pt x="288032" y="1135474"/>
                </a:lnTo>
                <a:lnTo>
                  <a:pt x="288032" y="1425817"/>
                </a:lnTo>
                <a:cubicBezTo>
                  <a:pt x="287949" y="1192673"/>
                  <a:pt x="287866" y="959531"/>
                  <a:pt x="287784" y="726387"/>
                </a:cubicBezTo>
                <a:cubicBezTo>
                  <a:pt x="287742" y="593611"/>
                  <a:pt x="34115" y="969455"/>
                  <a:pt x="29815" y="642123"/>
                </a:cubicBezTo>
                <a:close/>
                <a:moveTo>
                  <a:pt x="0" y="1428586"/>
                </a:moveTo>
                <a:lnTo>
                  <a:pt x="0" y="1427057"/>
                </a:lnTo>
                <a:lnTo>
                  <a:pt x="288032" y="1425817"/>
                </a:lnTo>
                <a:lnTo>
                  <a:pt x="288032" y="1428586"/>
                </a:lnTo>
                <a:close/>
              </a:path>
            </a:pathLst>
          </a:custGeom>
          <a:solidFill>
            <a:srgbClr val="C0C0C0"/>
          </a:solidFill>
          <a:ln w="28575" cap="flat" cmpd="sng" algn="ctr">
            <a:solidFill>
              <a:schemeClr val="tx2"/>
            </a:solidFill>
            <a:prstDash val="solid"/>
            <a:round/>
            <a:headEnd type="none" w="med" len="med"/>
            <a:tailEnd type="none" w="med" len="med"/>
          </a:ln>
          <a:effectLst/>
          <a:extLst/>
        </p:spPr>
        <p:txBody>
          <a:bodyPr rot="0" spcFirstLastPara="0" vertOverflow="overflow" horzOverflow="overflow" vert="vert270" wrap="square" lIns="360000" tIns="72000" rIns="72000" bIns="72000" numCol="1" spcCol="0" rtlCol="0" fromWordArt="0" anchor="t" anchorCtr="0" forceAA="0" compatLnSpc="1">
            <a:prstTxWarp prst="textNoShape">
              <a:avLst/>
            </a:prstTxWarp>
            <a:noAutofit/>
          </a:bodyPr>
          <a:lstStyle/>
          <a:p>
            <a:endParaRPr lang="de-CH" b="1" dirty="0">
              <a:solidFill>
                <a:schemeClr val="tx2"/>
              </a:solidFill>
              <a:latin typeface="EYInterstate Light" panose="02000506000000020004" pitchFamily="2" charset="0"/>
            </a:endParaRPr>
          </a:p>
        </p:txBody>
      </p:sp>
      <p:sp>
        <p:nvSpPr>
          <p:cNvPr id="13" name="TextBox 12"/>
          <p:cNvSpPr txBox="1"/>
          <p:nvPr/>
        </p:nvSpPr>
        <p:spPr>
          <a:xfrm>
            <a:off x="2196351" y="3225655"/>
            <a:ext cx="2070230" cy="738664"/>
          </a:xfrm>
          <a:prstGeom prst="rect">
            <a:avLst/>
          </a:prstGeom>
          <a:noFill/>
        </p:spPr>
        <p:txBody>
          <a:bodyPr wrap="square" rtlCol="0">
            <a:spAutoFit/>
          </a:bodyPr>
          <a:lstStyle/>
          <a:p>
            <a:pPr defTabSz="893738">
              <a:spcBef>
                <a:spcPct val="0"/>
              </a:spcBef>
            </a:pPr>
            <a:r>
              <a:rPr lang="de-DE" sz="1400" b="1" dirty="0">
                <a:solidFill>
                  <a:schemeClr val="tx2"/>
                </a:solidFill>
                <a:latin typeface="EYInterstate Light" panose="02000506000000020004" pitchFamily="2" charset="0"/>
              </a:rPr>
              <a:t>Schaffung von „</a:t>
            </a:r>
            <a:r>
              <a:rPr lang="de-DE" sz="1400" b="1" dirty="0" err="1">
                <a:solidFill>
                  <a:schemeClr val="tx2"/>
                </a:solidFill>
                <a:latin typeface="EYInterstate Light" panose="02000506000000020004" pitchFamily="2" charset="0"/>
              </a:rPr>
              <a:t>Momentum</a:t>
            </a:r>
            <a:r>
              <a:rPr lang="de-DE" sz="1400" b="1" dirty="0">
                <a:solidFill>
                  <a:schemeClr val="tx2"/>
                </a:solidFill>
                <a:latin typeface="EYInterstate Light" panose="02000506000000020004" pitchFamily="2" charset="0"/>
              </a:rPr>
              <a:t>“ für</a:t>
            </a:r>
            <a:br>
              <a:rPr lang="de-DE" sz="1400" b="1" dirty="0">
                <a:solidFill>
                  <a:schemeClr val="tx2"/>
                </a:solidFill>
                <a:latin typeface="EYInterstate Light" panose="02000506000000020004" pitchFamily="2" charset="0"/>
              </a:rPr>
            </a:br>
            <a:r>
              <a:rPr lang="de-DE" sz="1400" b="1" dirty="0">
                <a:solidFill>
                  <a:schemeClr val="tx2"/>
                </a:solidFill>
                <a:latin typeface="EYInterstate Light" panose="02000506000000020004" pitchFamily="2" charset="0"/>
              </a:rPr>
              <a:t>die Transaktion</a:t>
            </a:r>
          </a:p>
        </p:txBody>
      </p:sp>
      <p:sp>
        <p:nvSpPr>
          <p:cNvPr id="14" name="TextBox 13"/>
          <p:cNvSpPr txBox="1"/>
          <p:nvPr/>
        </p:nvSpPr>
        <p:spPr>
          <a:xfrm>
            <a:off x="6642844" y="3139476"/>
            <a:ext cx="1634884" cy="911019"/>
          </a:xfrm>
          <a:prstGeom prst="rect">
            <a:avLst/>
          </a:prstGeom>
          <a:noFill/>
        </p:spPr>
        <p:txBody>
          <a:bodyPr wrap="square" rtlCol="0">
            <a:spAutoFit/>
          </a:bodyPr>
          <a:lstStyle/>
          <a:p>
            <a:pPr defTabSz="893738">
              <a:lnSpc>
                <a:spcPct val="95000"/>
              </a:lnSpc>
              <a:spcBef>
                <a:spcPct val="0"/>
              </a:spcBef>
            </a:pPr>
            <a:r>
              <a:rPr lang="de-CH" sz="1400" b="1" dirty="0">
                <a:solidFill>
                  <a:schemeClr val="tx2"/>
                </a:solidFill>
                <a:latin typeface="EYInterstate Light" panose="02000506000000020004" pitchFamily="2" charset="0"/>
              </a:rPr>
              <a:t>Erhalt der Vertraulichkeit während des Prozesses</a:t>
            </a:r>
          </a:p>
        </p:txBody>
      </p:sp>
      <p:sp>
        <p:nvSpPr>
          <p:cNvPr id="15" name="TextBox 14"/>
          <p:cNvSpPr txBox="1"/>
          <p:nvPr/>
        </p:nvSpPr>
        <p:spPr>
          <a:xfrm>
            <a:off x="6301493" y="1870803"/>
            <a:ext cx="1981727" cy="738664"/>
          </a:xfrm>
          <a:prstGeom prst="rect">
            <a:avLst/>
          </a:prstGeom>
          <a:noFill/>
        </p:spPr>
        <p:txBody>
          <a:bodyPr wrap="square" rtlCol="0">
            <a:spAutoFit/>
          </a:bodyPr>
          <a:lstStyle/>
          <a:p>
            <a:pPr defTabSz="893738">
              <a:spcBef>
                <a:spcPct val="0"/>
              </a:spcBef>
            </a:pPr>
            <a:r>
              <a:rPr lang="de-CH" sz="1400" b="1" dirty="0">
                <a:solidFill>
                  <a:schemeClr val="tx2"/>
                </a:solidFill>
                <a:latin typeface="EYInterstate Light" panose="02000506000000020004" pitchFamily="2" charset="0"/>
              </a:rPr>
              <a:t>Rückhalt durch Management, VR und Aktionäre</a:t>
            </a:r>
          </a:p>
        </p:txBody>
      </p:sp>
      <p:sp>
        <p:nvSpPr>
          <p:cNvPr id="16" name="TextBox 15"/>
          <p:cNvSpPr txBox="1"/>
          <p:nvPr/>
        </p:nvSpPr>
        <p:spPr>
          <a:xfrm>
            <a:off x="2194166" y="1785739"/>
            <a:ext cx="1754076" cy="954107"/>
          </a:xfrm>
          <a:prstGeom prst="rect">
            <a:avLst/>
          </a:prstGeom>
          <a:noFill/>
        </p:spPr>
        <p:txBody>
          <a:bodyPr wrap="square" rtlCol="0">
            <a:spAutoFit/>
          </a:bodyPr>
          <a:lstStyle/>
          <a:p>
            <a:pPr defTabSz="893738">
              <a:spcBef>
                <a:spcPct val="0"/>
              </a:spcBef>
            </a:pPr>
            <a:r>
              <a:rPr lang="de-CH" sz="1400" b="1" dirty="0">
                <a:solidFill>
                  <a:schemeClr val="tx2"/>
                </a:solidFill>
                <a:latin typeface="EYInterstate Light" panose="02000506000000020004" pitchFamily="2" charset="0"/>
              </a:rPr>
              <a:t>Nachhaltiges Geschäftsmodell und Geschäfts-verlauf</a:t>
            </a:r>
          </a:p>
        </p:txBody>
      </p:sp>
      <p:sp>
        <p:nvSpPr>
          <p:cNvPr id="17" name="TextBox 16"/>
          <p:cNvSpPr txBox="1"/>
          <p:nvPr/>
        </p:nvSpPr>
        <p:spPr>
          <a:xfrm>
            <a:off x="4207817" y="1785739"/>
            <a:ext cx="1801818" cy="954107"/>
          </a:xfrm>
          <a:prstGeom prst="rect">
            <a:avLst/>
          </a:prstGeom>
          <a:noFill/>
        </p:spPr>
        <p:txBody>
          <a:bodyPr wrap="square" rtlCol="0">
            <a:spAutoFit/>
          </a:bodyPr>
          <a:lstStyle/>
          <a:p>
            <a:pPr defTabSz="893738">
              <a:spcBef>
                <a:spcPct val="0"/>
              </a:spcBef>
            </a:pPr>
            <a:r>
              <a:rPr lang="de-DE" sz="1400" b="1" dirty="0">
                <a:solidFill>
                  <a:schemeClr val="tx2"/>
                </a:solidFill>
                <a:latin typeface="EYInterstate Light" panose="02000506000000020004" pitchFamily="2" charset="0"/>
              </a:rPr>
              <a:t>„Korrekte“ Beurteilung des Interesse möglicher Käufer</a:t>
            </a:r>
          </a:p>
        </p:txBody>
      </p:sp>
      <p:sp>
        <p:nvSpPr>
          <p:cNvPr id="18" name="TextBox 17"/>
          <p:cNvSpPr txBox="1"/>
          <p:nvPr/>
        </p:nvSpPr>
        <p:spPr>
          <a:xfrm>
            <a:off x="4554612" y="4573425"/>
            <a:ext cx="1437922" cy="738664"/>
          </a:xfrm>
          <a:prstGeom prst="rect">
            <a:avLst/>
          </a:prstGeom>
          <a:noFill/>
        </p:spPr>
        <p:txBody>
          <a:bodyPr wrap="square" rtlCol="0">
            <a:spAutoFit/>
          </a:bodyPr>
          <a:lstStyle/>
          <a:p>
            <a:pPr defTabSz="893738">
              <a:spcBef>
                <a:spcPct val="0"/>
              </a:spcBef>
            </a:pPr>
            <a:r>
              <a:rPr lang="de-CH" sz="1400" b="1" dirty="0">
                <a:solidFill>
                  <a:schemeClr val="tx2"/>
                </a:solidFill>
                <a:latin typeface="EYInterstate Light" panose="02000506000000020004" pitchFamily="2" charset="0"/>
              </a:rPr>
              <a:t>Pragmatischer Due Diligence Prozess</a:t>
            </a:r>
          </a:p>
        </p:txBody>
      </p:sp>
      <p:sp>
        <p:nvSpPr>
          <p:cNvPr id="19" name="TextBox 18"/>
          <p:cNvSpPr txBox="1"/>
          <p:nvPr/>
        </p:nvSpPr>
        <p:spPr>
          <a:xfrm>
            <a:off x="6294413" y="4554135"/>
            <a:ext cx="1988807" cy="738664"/>
          </a:xfrm>
          <a:prstGeom prst="rect">
            <a:avLst/>
          </a:prstGeom>
          <a:noFill/>
        </p:spPr>
        <p:txBody>
          <a:bodyPr wrap="square" rtlCol="0">
            <a:spAutoFit/>
          </a:bodyPr>
          <a:lstStyle/>
          <a:p>
            <a:pPr defTabSz="893738">
              <a:spcBef>
                <a:spcPct val="0"/>
              </a:spcBef>
            </a:pPr>
            <a:r>
              <a:rPr lang="de-CH" sz="1400" b="1" dirty="0">
                <a:solidFill>
                  <a:schemeClr val="tx2"/>
                </a:solidFill>
                <a:latin typeface="EYInterstate Light" panose="02000506000000020004" pitchFamily="2" charset="0"/>
              </a:rPr>
              <a:t>Strukturierte Ansprache von möglichen Käufern</a:t>
            </a:r>
          </a:p>
        </p:txBody>
      </p:sp>
      <p:grpSp>
        <p:nvGrpSpPr>
          <p:cNvPr id="20" name="Group 19"/>
          <p:cNvGrpSpPr/>
          <p:nvPr/>
        </p:nvGrpSpPr>
        <p:grpSpPr>
          <a:xfrm>
            <a:off x="3824919" y="2742511"/>
            <a:ext cx="2823417" cy="1788881"/>
            <a:chOff x="3484563" y="2578331"/>
            <a:chExt cx="2823417" cy="1788881"/>
          </a:xfrm>
          <a:solidFill>
            <a:srgbClr val="FFE600"/>
          </a:solidFill>
        </p:grpSpPr>
        <p:sp>
          <p:nvSpPr>
            <p:cNvPr id="21" name="Rectangle 31"/>
            <p:cNvSpPr/>
            <p:nvPr/>
          </p:nvSpPr>
          <p:spPr bwMode="auto">
            <a:xfrm rot="5400000">
              <a:off x="4124297" y="2292913"/>
              <a:ext cx="1544633" cy="2115470"/>
            </a:xfrm>
            <a:custGeom>
              <a:avLst/>
              <a:gdLst/>
              <a:ahLst/>
              <a:cxnLst/>
              <a:rect l="l" t="t" r="r" b="b"/>
              <a:pathLst>
                <a:path w="1728192" h="1428586">
                  <a:moveTo>
                    <a:pt x="288041" y="31656"/>
                  </a:moveTo>
                  <a:lnTo>
                    <a:pt x="288219" y="533997"/>
                  </a:lnTo>
                  <a:lnTo>
                    <a:pt x="288220" y="533997"/>
                  </a:lnTo>
                  <a:close/>
                  <a:moveTo>
                    <a:pt x="29815" y="642123"/>
                  </a:moveTo>
                  <a:cubicBezTo>
                    <a:pt x="25515" y="314791"/>
                    <a:pt x="285758" y="632239"/>
                    <a:pt x="285799" y="525451"/>
                  </a:cubicBezTo>
                  <a:lnTo>
                    <a:pt x="287979" y="1176"/>
                  </a:lnTo>
                  <a:lnTo>
                    <a:pt x="288031" y="1176"/>
                  </a:lnTo>
                  <a:lnTo>
                    <a:pt x="288031" y="0"/>
                  </a:lnTo>
                  <a:lnTo>
                    <a:pt x="576063" y="0"/>
                  </a:lnTo>
                  <a:lnTo>
                    <a:pt x="576063" y="1530"/>
                  </a:lnTo>
                  <a:lnTo>
                    <a:pt x="931216" y="0"/>
                  </a:lnTo>
                  <a:cubicBezTo>
                    <a:pt x="1056604" y="30508"/>
                    <a:pt x="732447" y="289524"/>
                    <a:pt x="1036388" y="291685"/>
                  </a:cubicBezTo>
                  <a:cubicBezTo>
                    <a:pt x="1340329" y="293845"/>
                    <a:pt x="1044781" y="43472"/>
                    <a:pt x="1159419" y="12964"/>
                  </a:cubicBezTo>
                  <a:lnTo>
                    <a:pt x="1728192" y="2770"/>
                  </a:lnTo>
                  <a:lnTo>
                    <a:pt x="1728192" y="533997"/>
                  </a:lnTo>
                  <a:lnTo>
                    <a:pt x="1728192" y="533997"/>
                  </a:lnTo>
                  <a:lnTo>
                    <a:pt x="1728192" y="1423506"/>
                  </a:lnTo>
                  <a:lnTo>
                    <a:pt x="1191168" y="1421273"/>
                  </a:lnTo>
                  <a:cubicBezTo>
                    <a:pt x="1084379" y="1421232"/>
                    <a:pt x="1401828" y="1160989"/>
                    <a:pt x="1074495" y="1165289"/>
                  </a:cubicBezTo>
                  <a:cubicBezTo>
                    <a:pt x="747163" y="1169589"/>
                    <a:pt x="1123007" y="1423216"/>
                    <a:pt x="990231" y="1423258"/>
                  </a:cubicBezTo>
                  <a:cubicBezTo>
                    <a:pt x="757088" y="1423340"/>
                    <a:pt x="523945" y="1423423"/>
                    <a:pt x="290801" y="1423506"/>
                  </a:cubicBezTo>
                  <a:lnTo>
                    <a:pt x="289561" y="1135474"/>
                  </a:lnTo>
                  <a:lnTo>
                    <a:pt x="288032" y="1135474"/>
                  </a:lnTo>
                  <a:lnTo>
                    <a:pt x="288032" y="1425817"/>
                  </a:lnTo>
                  <a:cubicBezTo>
                    <a:pt x="287949" y="1192673"/>
                    <a:pt x="287866" y="959531"/>
                    <a:pt x="287784" y="726387"/>
                  </a:cubicBezTo>
                  <a:cubicBezTo>
                    <a:pt x="287742" y="593611"/>
                    <a:pt x="34115" y="969455"/>
                    <a:pt x="29815" y="642123"/>
                  </a:cubicBezTo>
                  <a:close/>
                  <a:moveTo>
                    <a:pt x="0" y="1428586"/>
                  </a:moveTo>
                  <a:lnTo>
                    <a:pt x="0" y="1427057"/>
                  </a:lnTo>
                  <a:lnTo>
                    <a:pt x="288032" y="1425817"/>
                  </a:lnTo>
                  <a:lnTo>
                    <a:pt x="288032" y="1428586"/>
                  </a:lnTo>
                  <a:close/>
                </a:path>
              </a:pathLst>
            </a:custGeom>
            <a:grpFill/>
            <a:ln w="28575" cap="flat" cmpd="sng" algn="ctr">
              <a:solidFill>
                <a:schemeClr val="tx2"/>
              </a:solidFill>
              <a:prstDash val="solid"/>
              <a:round/>
              <a:headEnd type="none" w="med" len="med"/>
              <a:tailEnd type="none" w="med" len="med"/>
            </a:ln>
            <a:effectLst/>
            <a:extLst/>
          </p:spPr>
          <p:txBody>
            <a:bodyPr rot="0" spcFirstLastPara="0" vertOverflow="overflow" horzOverflow="overflow" vert="vert270" wrap="square" lIns="360000" tIns="72000" rIns="72000" bIns="72000" numCol="1" spcCol="0" rtlCol="0" fromWordArt="0" anchor="t" anchorCtr="0" forceAA="0" compatLnSpc="1">
              <a:prstTxWarp prst="textNoShape">
                <a:avLst/>
              </a:prstTxWarp>
              <a:noAutofit/>
            </a:bodyPr>
            <a:lstStyle/>
            <a:p>
              <a:br>
                <a:rPr lang="de-CH" sz="100" b="1" dirty="0">
                  <a:solidFill>
                    <a:schemeClr val="tx2"/>
                  </a:solidFill>
                  <a:latin typeface="EYInterstate Light" panose="02000506000000020004" pitchFamily="2" charset="0"/>
                </a:rPr>
              </a:br>
              <a:br>
                <a:rPr lang="de-CH" sz="100" b="1" dirty="0">
                  <a:solidFill>
                    <a:schemeClr val="tx2"/>
                  </a:solidFill>
                  <a:latin typeface="EYInterstate Light" panose="02000506000000020004" pitchFamily="2" charset="0"/>
                </a:rPr>
              </a:br>
              <a:br>
                <a:rPr lang="de-CH" sz="100" b="1" dirty="0">
                  <a:solidFill>
                    <a:schemeClr val="tx2"/>
                  </a:solidFill>
                  <a:latin typeface="EYInterstate Light" panose="02000506000000020004" pitchFamily="2" charset="0"/>
                </a:rPr>
              </a:br>
              <a:br>
                <a:rPr lang="de-CH" sz="100" b="1" dirty="0">
                  <a:solidFill>
                    <a:schemeClr val="tx2"/>
                  </a:solidFill>
                  <a:latin typeface="EYInterstate Light" panose="02000506000000020004" pitchFamily="2" charset="0"/>
                </a:rPr>
              </a:br>
              <a:br>
                <a:rPr lang="de-CH" sz="100" b="1" dirty="0">
                  <a:solidFill>
                    <a:schemeClr val="tx2"/>
                  </a:solidFill>
                  <a:latin typeface="EYInterstate Light" panose="02000506000000020004" pitchFamily="2" charset="0"/>
                </a:rPr>
              </a:br>
              <a:br>
                <a:rPr lang="de-CH" sz="100" b="1" dirty="0">
                  <a:solidFill>
                    <a:schemeClr val="tx2"/>
                  </a:solidFill>
                  <a:latin typeface="EYInterstate Light" panose="02000506000000020004" pitchFamily="2" charset="0"/>
                </a:rPr>
              </a:br>
              <a:br>
                <a:rPr lang="de-CH" sz="100" b="1" dirty="0">
                  <a:solidFill>
                    <a:schemeClr val="tx2"/>
                  </a:solidFill>
                  <a:latin typeface="EYInterstate Light" panose="02000506000000020004" pitchFamily="2" charset="0"/>
                </a:rPr>
              </a:br>
              <a:endParaRPr lang="de-CH" sz="1600" b="1" dirty="0">
                <a:solidFill>
                  <a:schemeClr val="tx2"/>
                </a:solidFill>
                <a:latin typeface="EYInterstate Light" panose="02000506000000020004" pitchFamily="2" charset="0"/>
              </a:endParaRPr>
            </a:p>
          </p:txBody>
        </p:sp>
        <p:sp>
          <p:nvSpPr>
            <p:cNvPr id="22" name="Rectangle 31"/>
            <p:cNvSpPr/>
            <p:nvPr/>
          </p:nvSpPr>
          <p:spPr bwMode="auto">
            <a:xfrm rot="16200000">
              <a:off x="4156552" y="2564653"/>
              <a:ext cx="1489649" cy="2115470"/>
            </a:xfrm>
            <a:custGeom>
              <a:avLst/>
              <a:gdLst/>
              <a:ahLst/>
              <a:cxnLst/>
              <a:rect l="l" t="t" r="r" b="b"/>
              <a:pathLst>
                <a:path w="1728192" h="1428586">
                  <a:moveTo>
                    <a:pt x="288041" y="31656"/>
                  </a:moveTo>
                  <a:lnTo>
                    <a:pt x="288219" y="533997"/>
                  </a:lnTo>
                  <a:lnTo>
                    <a:pt x="288220" y="533997"/>
                  </a:lnTo>
                  <a:close/>
                  <a:moveTo>
                    <a:pt x="29815" y="642123"/>
                  </a:moveTo>
                  <a:cubicBezTo>
                    <a:pt x="25515" y="314791"/>
                    <a:pt x="285758" y="632239"/>
                    <a:pt x="285799" y="525451"/>
                  </a:cubicBezTo>
                  <a:lnTo>
                    <a:pt x="287979" y="1176"/>
                  </a:lnTo>
                  <a:lnTo>
                    <a:pt x="288031" y="1176"/>
                  </a:lnTo>
                  <a:lnTo>
                    <a:pt x="288031" y="0"/>
                  </a:lnTo>
                  <a:lnTo>
                    <a:pt x="576063" y="0"/>
                  </a:lnTo>
                  <a:lnTo>
                    <a:pt x="576063" y="1530"/>
                  </a:lnTo>
                  <a:lnTo>
                    <a:pt x="931216" y="0"/>
                  </a:lnTo>
                  <a:cubicBezTo>
                    <a:pt x="1056604" y="30508"/>
                    <a:pt x="732447" y="289524"/>
                    <a:pt x="1036388" y="291685"/>
                  </a:cubicBezTo>
                  <a:cubicBezTo>
                    <a:pt x="1340329" y="293845"/>
                    <a:pt x="1044781" y="43472"/>
                    <a:pt x="1159419" y="12964"/>
                  </a:cubicBezTo>
                  <a:lnTo>
                    <a:pt x="1728192" y="2770"/>
                  </a:lnTo>
                  <a:lnTo>
                    <a:pt x="1728192" y="533997"/>
                  </a:lnTo>
                  <a:lnTo>
                    <a:pt x="1728192" y="533997"/>
                  </a:lnTo>
                  <a:lnTo>
                    <a:pt x="1728192" y="1423506"/>
                  </a:lnTo>
                  <a:lnTo>
                    <a:pt x="1191168" y="1421273"/>
                  </a:lnTo>
                  <a:cubicBezTo>
                    <a:pt x="1084379" y="1421232"/>
                    <a:pt x="1401828" y="1160989"/>
                    <a:pt x="1074495" y="1165289"/>
                  </a:cubicBezTo>
                  <a:cubicBezTo>
                    <a:pt x="747163" y="1169589"/>
                    <a:pt x="1123007" y="1423216"/>
                    <a:pt x="990231" y="1423258"/>
                  </a:cubicBezTo>
                  <a:cubicBezTo>
                    <a:pt x="757088" y="1423340"/>
                    <a:pt x="523945" y="1423423"/>
                    <a:pt x="290801" y="1423506"/>
                  </a:cubicBezTo>
                  <a:lnTo>
                    <a:pt x="289561" y="1135474"/>
                  </a:lnTo>
                  <a:lnTo>
                    <a:pt x="288032" y="1135474"/>
                  </a:lnTo>
                  <a:lnTo>
                    <a:pt x="288032" y="1425817"/>
                  </a:lnTo>
                  <a:cubicBezTo>
                    <a:pt x="287949" y="1192673"/>
                    <a:pt x="287866" y="959531"/>
                    <a:pt x="287784" y="726387"/>
                  </a:cubicBezTo>
                  <a:cubicBezTo>
                    <a:pt x="287742" y="593611"/>
                    <a:pt x="34115" y="969455"/>
                    <a:pt x="29815" y="642123"/>
                  </a:cubicBezTo>
                  <a:close/>
                  <a:moveTo>
                    <a:pt x="0" y="1428586"/>
                  </a:moveTo>
                  <a:lnTo>
                    <a:pt x="0" y="1427057"/>
                  </a:lnTo>
                  <a:lnTo>
                    <a:pt x="288032" y="1425817"/>
                  </a:lnTo>
                  <a:lnTo>
                    <a:pt x="288032" y="1428586"/>
                  </a:lnTo>
                  <a:close/>
                </a:path>
              </a:pathLst>
            </a:custGeom>
            <a:grpFill/>
            <a:ln w="28575" cap="flat" cmpd="sng" algn="ctr">
              <a:solidFill>
                <a:schemeClr val="tx2"/>
              </a:solidFill>
              <a:prstDash val="solid"/>
              <a:round/>
              <a:headEnd type="none" w="med" len="med"/>
              <a:tailEnd type="none" w="med" len="med"/>
            </a:ln>
            <a:effectLst/>
            <a:extLst/>
          </p:spPr>
          <p:txBody>
            <a:bodyPr rot="0" spcFirstLastPara="0" vertOverflow="overflow" horzOverflow="overflow" vert="vert270" wrap="square" lIns="360000" tIns="72000" rIns="72000" bIns="72000" numCol="1" spcCol="0" rtlCol="0" fromWordArt="0" anchor="t" anchorCtr="0" forceAA="0" compatLnSpc="1">
              <a:prstTxWarp prst="textNoShape">
                <a:avLst/>
              </a:prstTxWarp>
              <a:noAutofit/>
            </a:bodyPr>
            <a:lstStyle/>
            <a:p>
              <a:br>
                <a:rPr lang="de-CH" sz="100" b="1" dirty="0">
                  <a:solidFill>
                    <a:schemeClr val="tx2"/>
                  </a:solidFill>
                  <a:latin typeface="EYInterstate Light" panose="02000506000000020004" pitchFamily="2" charset="0"/>
                </a:rPr>
              </a:br>
              <a:br>
                <a:rPr lang="de-CH" sz="100" b="1" dirty="0">
                  <a:solidFill>
                    <a:schemeClr val="tx2"/>
                  </a:solidFill>
                  <a:latin typeface="EYInterstate Light" panose="02000506000000020004" pitchFamily="2" charset="0"/>
                </a:rPr>
              </a:br>
              <a:br>
                <a:rPr lang="de-CH" sz="100" b="1" dirty="0">
                  <a:solidFill>
                    <a:schemeClr val="tx2"/>
                  </a:solidFill>
                  <a:latin typeface="EYInterstate Light" panose="02000506000000020004" pitchFamily="2" charset="0"/>
                </a:rPr>
              </a:br>
              <a:br>
                <a:rPr lang="de-CH" sz="100" b="1" dirty="0">
                  <a:solidFill>
                    <a:schemeClr val="tx2"/>
                  </a:solidFill>
                  <a:latin typeface="EYInterstate Light" panose="02000506000000020004" pitchFamily="2" charset="0"/>
                </a:rPr>
              </a:br>
              <a:br>
                <a:rPr lang="de-CH" sz="100" b="1" dirty="0">
                  <a:solidFill>
                    <a:schemeClr val="tx2"/>
                  </a:solidFill>
                  <a:latin typeface="EYInterstate Light" panose="02000506000000020004" pitchFamily="2" charset="0"/>
                </a:rPr>
              </a:br>
              <a:br>
                <a:rPr lang="de-CH" sz="100" b="1" dirty="0">
                  <a:solidFill>
                    <a:schemeClr val="tx2"/>
                  </a:solidFill>
                  <a:latin typeface="EYInterstate Light" panose="02000506000000020004" pitchFamily="2" charset="0"/>
                </a:rPr>
              </a:br>
              <a:br>
                <a:rPr lang="de-CH" sz="100" b="1" dirty="0">
                  <a:solidFill>
                    <a:schemeClr val="tx2"/>
                  </a:solidFill>
                  <a:latin typeface="EYInterstate Light" panose="02000506000000020004" pitchFamily="2" charset="0"/>
                </a:rPr>
              </a:br>
              <a:endParaRPr lang="de-CH" sz="1600" b="1" dirty="0">
                <a:solidFill>
                  <a:schemeClr val="tx2"/>
                </a:solidFill>
                <a:latin typeface="EYInterstate Light" panose="02000506000000020004" pitchFamily="2" charset="0"/>
              </a:endParaRPr>
            </a:p>
          </p:txBody>
        </p:sp>
        <p:sp>
          <p:nvSpPr>
            <p:cNvPr id="23" name="Rectangle 22"/>
            <p:cNvSpPr/>
            <p:nvPr/>
          </p:nvSpPr>
          <p:spPr bwMode="auto">
            <a:xfrm>
              <a:off x="3864767" y="2861907"/>
              <a:ext cx="2070000" cy="91440"/>
            </a:xfrm>
            <a:prstGeom prst="rect">
              <a:avLst/>
            </a:prstGeom>
            <a:grpFill/>
            <a:ln w="635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de-CH" sz="1000" b="0" i="0" u="none" strike="noStrike" cap="none" normalizeH="0" baseline="0" dirty="0">
                <a:ln>
                  <a:noFill/>
                </a:ln>
                <a:solidFill>
                  <a:schemeClr val="tx2"/>
                </a:solidFill>
                <a:effectLst/>
                <a:latin typeface="EYInterstate Light" panose="02000506000000020004" pitchFamily="2" charset="0"/>
              </a:endParaRPr>
            </a:p>
          </p:txBody>
        </p:sp>
        <p:sp>
          <p:nvSpPr>
            <p:cNvPr id="24" name="Rectangle 35"/>
            <p:cNvSpPr/>
            <p:nvPr/>
          </p:nvSpPr>
          <p:spPr bwMode="auto">
            <a:xfrm>
              <a:off x="5561553" y="2980736"/>
              <a:ext cx="746427" cy="1040882"/>
            </a:xfrm>
            <a:custGeom>
              <a:avLst/>
              <a:gdLst/>
              <a:ahLst/>
              <a:cxnLst/>
              <a:rect l="l" t="t" r="r" b="b"/>
              <a:pathLst>
                <a:path w="746427" h="1040882">
                  <a:moveTo>
                    <a:pt x="0" y="0"/>
                  </a:moveTo>
                  <a:lnTo>
                    <a:pt x="375392" y="0"/>
                  </a:lnTo>
                  <a:cubicBezTo>
                    <a:pt x="375462" y="124244"/>
                    <a:pt x="375532" y="248488"/>
                    <a:pt x="375601" y="372733"/>
                  </a:cubicBezTo>
                  <a:cubicBezTo>
                    <a:pt x="375661" y="492948"/>
                    <a:pt x="740172" y="152659"/>
                    <a:pt x="746352" y="449025"/>
                  </a:cubicBezTo>
                  <a:cubicBezTo>
                    <a:pt x="752532" y="745392"/>
                    <a:pt x="378513" y="457974"/>
                    <a:pt x="378453" y="554661"/>
                  </a:cubicBezTo>
                  <a:lnTo>
                    <a:pt x="375245" y="1040882"/>
                  </a:lnTo>
                  <a:lnTo>
                    <a:pt x="0" y="1040882"/>
                  </a:lnTo>
                  <a:close/>
                </a:path>
              </a:pathLst>
            </a:custGeom>
            <a:grpFill/>
            <a:ln w="2857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72000" tIns="612000" rIns="216000" bIns="72000" numCol="1" spcCol="0" rtlCol="0" fromWordArt="0" anchor="t" anchorCtr="0" forceAA="0" compatLnSpc="1">
              <a:prstTxWarp prst="textNoShape">
                <a:avLst/>
              </a:prstTxWarp>
              <a:noAutofit/>
            </a:bodyPr>
            <a:lstStyle/>
            <a:p>
              <a:endParaRPr lang="de-CH" b="1" dirty="0">
                <a:solidFill>
                  <a:schemeClr val="tx2"/>
                </a:solidFill>
                <a:latin typeface="EYInterstate Light" panose="02000506000000020004" pitchFamily="2" charset="0"/>
              </a:endParaRPr>
            </a:p>
          </p:txBody>
        </p:sp>
        <p:sp>
          <p:nvSpPr>
            <p:cNvPr id="25" name="Rectangle 24"/>
            <p:cNvSpPr/>
            <p:nvPr/>
          </p:nvSpPr>
          <p:spPr bwMode="auto">
            <a:xfrm>
              <a:off x="5381627" y="2918618"/>
              <a:ext cx="553140" cy="1139031"/>
            </a:xfrm>
            <a:prstGeom prst="rect">
              <a:avLst/>
            </a:prstGeom>
            <a:grpFill/>
            <a:ln w="635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de-CH" sz="1000" b="0" i="0" u="none" strike="noStrike" cap="none" normalizeH="0" baseline="0" dirty="0">
                <a:ln>
                  <a:noFill/>
                </a:ln>
                <a:solidFill>
                  <a:schemeClr val="tx2"/>
                </a:solidFill>
                <a:effectLst/>
                <a:latin typeface="EYInterstate Light" panose="02000506000000020004" pitchFamily="2" charset="0"/>
              </a:endParaRPr>
            </a:p>
          </p:txBody>
        </p:sp>
        <p:sp>
          <p:nvSpPr>
            <p:cNvPr id="26" name="Rectangle 31"/>
            <p:cNvSpPr/>
            <p:nvPr/>
          </p:nvSpPr>
          <p:spPr bwMode="auto">
            <a:xfrm>
              <a:off x="3484563" y="2918618"/>
              <a:ext cx="1104104" cy="1379612"/>
            </a:xfrm>
            <a:custGeom>
              <a:avLst/>
              <a:gdLst/>
              <a:ahLst/>
              <a:cxnLst/>
              <a:rect l="l" t="t" r="r" b="b"/>
              <a:pathLst>
                <a:path w="1104104" h="1379612">
                  <a:moveTo>
                    <a:pt x="166844" y="1377651"/>
                  </a:moveTo>
                  <a:lnTo>
                    <a:pt x="166844" y="1379612"/>
                  </a:lnTo>
                  <a:lnTo>
                    <a:pt x="0" y="1379612"/>
                  </a:lnTo>
                  <a:lnTo>
                    <a:pt x="0" y="1378147"/>
                  </a:lnTo>
                  <a:close/>
                  <a:moveTo>
                    <a:pt x="399092" y="0"/>
                  </a:moveTo>
                  <a:lnTo>
                    <a:pt x="416877" y="0"/>
                  </a:lnTo>
                  <a:lnTo>
                    <a:pt x="416877" y="174509"/>
                  </a:lnTo>
                  <a:lnTo>
                    <a:pt x="1104104" y="174509"/>
                  </a:lnTo>
                  <a:lnTo>
                    <a:pt x="1104104" y="949252"/>
                  </a:lnTo>
                  <a:lnTo>
                    <a:pt x="398872" y="949252"/>
                  </a:lnTo>
                  <a:cubicBezTo>
                    <a:pt x="398831" y="868480"/>
                    <a:pt x="398789" y="787708"/>
                    <a:pt x="398748" y="706936"/>
                  </a:cubicBezTo>
                  <a:cubicBezTo>
                    <a:pt x="398690" y="579742"/>
                    <a:pt x="47269" y="939785"/>
                    <a:pt x="41311" y="626214"/>
                  </a:cubicBezTo>
                  <a:cubicBezTo>
                    <a:pt x="35353" y="312644"/>
                    <a:pt x="395941" y="616746"/>
                    <a:pt x="395999" y="514447"/>
                  </a:cubicBezTo>
                  <a:close/>
                </a:path>
              </a:pathLst>
            </a:custGeom>
            <a:grpFill/>
            <a:ln w="2857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324000" tIns="72000" rIns="72000" bIns="72000" numCol="1" spcCol="0" rtlCol="0" fromWordArt="0" anchor="t" anchorCtr="0" forceAA="0" compatLnSpc="1">
              <a:prstTxWarp prst="textNoShape">
                <a:avLst/>
              </a:prstTxWarp>
              <a:noAutofit/>
            </a:bodyPr>
            <a:lstStyle/>
            <a:p>
              <a:endParaRPr lang="de-CH" b="1" dirty="0">
                <a:solidFill>
                  <a:schemeClr val="tx2"/>
                </a:solidFill>
                <a:latin typeface="EYInterstate Light" panose="02000506000000020004" pitchFamily="2" charset="0"/>
              </a:endParaRPr>
            </a:p>
          </p:txBody>
        </p:sp>
        <p:sp>
          <p:nvSpPr>
            <p:cNvPr id="27" name="Rectangle 26"/>
            <p:cNvSpPr/>
            <p:nvPr/>
          </p:nvSpPr>
          <p:spPr bwMode="auto">
            <a:xfrm>
              <a:off x="3862872" y="2858523"/>
              <a:ext cx="771527" cy="1139031"/>
            </a:xfrm>
            <a:prstGeom prst="rect">
              <a:avLst/>
            </a:prstGeom>
            <a:grpFill/>
            <a:ln w="635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de-CH" sz="1000" b="0" i="0" u="none" strike="noStrike" cap="none" normalizeH="0" baseline="0" dirty="0">
                <a:ln>
                  <a:noFill/>
                </a:ln>
                <a:solidFill>
                  <a:schemeClr val="tx2"/>
                </a:solidFill>
                <a:effectLst/>
                <a:latin typeface="EYInterstate Light" panose="02000506000000020004" pitchFamily="2" charset="0"/>
              </a:endParaRPr>
            </a:p>
          </p:txBody>
        </p:sp>
      </p:grpSp>
      <p:sp>
        <p:nvSpPr>
          <p:cNvPr id="28" name="TextBox 27"/>
          <p:cNvSpPr txBox="1"/>
          <p:nvPr/>
        </p:nvSpPr>
        <p:spPr>
          <a:xfrm>
            <a:off x="4277213" y="3307792"/>
            <a:ext cx="1947169" cy="646331"/>
          </a:xfrm>
          <a:prstGeom prst="rect">
            <a:avLst/>
          </a:prstGeom>
          <a:noFill/>
        </p:spPr>
        <p:txBody>
          <a:bodyPr wrap="square" rtlCol="0">
            <a:spAutoFit/>
          </a:bodyPr>
          <a:lstStyle/>
          <a:p>
            <a:r>
              <a:rPr lang="de-CH" sz="1800" b="1" dirty="0">
                <a:latin typeface="EYInterstate Light" panose="02000506000000020004" pitchFamily="2" charset="0"/>
              </a:rPr>
              <a:t>Erfolgsfaktoren beim Verkauf</a:t>
            </a:r>
          </a:p>
        </p:txBody>
      </p:sp>
      <p:sp>
        <p:nvSpPr>
          <p:cNvPr id="29" name="Rectangle 35"/>
          <p:cNvSpPr/>
          <p:nvPr/>
        </p:nvSpPr>
        <p:spPr bwMode="auto">
          <a:xfrm>
            <a:off x="2109005" y="3821462"/>
            <a:ext cx="2448272" cy="1700806"/>
          </a:xfrm>
          <a:custGeom>
            <a:avLst/>
            <a:gdLst/>
            <a:ahLst/>
            <a:cxnLst/>
            <a:rect l="l" t="t" r="r" b="b"/>
            <a:pathLst>
              <a:path w="2555266" h="2952328">
                <a:moveTo>
                  <a:pt x="2159958" y="0"/>
                </a:moveTo>
                <a:lnTo>
                  <a:pt x="2159959" y="0"/>
                </a:lnTo>
                <a:lnTo>
                  <a:pt x="2160226" y="753512"/>
                </a:lnTo>
                <a:lnTo>
                  <a:pt x="2160226" y="753512"/>
                </a:lnTo>
                <a:cubicBezTo>
                  <a:pt x="2160137" y="502341"/>
                  <a:pt x="2160047" y="251171"/>
                  <a:pt x="2159958" y="0"/>
                </a:cubicBezTo>
                <a:close/>
                <a:moveTo>
                  <a:pt x="0" y="0"/>
                </a:moveTo>
                <a:lnTo>
                  <a:pt x="1" y="0"/>
                </a:lnTo>
                <a:lnTo>
                  <a:pt x="1" y="796841"/>
                </a:lnTo>
                <a:lnTo>
                  <a:pt x="853159" y="781549"/>
                </a:lnTo>
                <a:cubicBezTo>
                  <a:pt x="1025117" y="735788"/>
                  <a:pt x="581795" y="360228"/>
                  <a:pt x="1037706" y="363468"/>
                </a:cubicBezTo>
                <a:cubicBezTo>
                  <a:pt x="1493617" y="366709"/>
                  <a:pt x="1007382" y="755234"/>
                  <a:pt x="1195464" y="800995"/>
                </a:cubicBezTo>
                <a:lnTo>
                  <a:pt x="1728193" y="798701"/>
                </a:lnTo>
                <a:lnTo>
                  <a:pt x="1728193" y="800995"/>
                </a:lnTo>
                <a:lnTo>
                  <a:pt x="2160241" y="800995"/>
                </a:lnTo>
                <a:lnTo>
                  <a:pt x="2160241" y="799231"/>
                </a:lnTo>
                <a:lnTo>
                  <a:pt x="2167862" y="799231"/>
                </a:lnTo>
                <a:cubicBezTo>
                  <a:pt x="2167986" y="1147950"/>
                  <a:pt x="2168111" y="1496667"/>
                  <a:pt x="2168233" y="1845386"/>
                </a:cubicBezTo>
                <a:cubicBezTo>
                  <a:pt x="2168296" y="2044550"/>
                  <a:pt x="2548737" y="1480784"/>
                  <a:pt x="2555187" y="1971782"/>
                </a:cubicBezTo>
                <a:cubicBezTo>
                  <a:pt x="2561637" y="2462781"/>
                  <a:pt x="2171272" y="1986608"/>
                  <a:pt x="2171210" y="2146791"/>
                </a:cubicBezTo>
                <a:lnTo>
                  <a:pt x="2167861" y="2952328"/>
                </a:lnTo>
                <a:lnTo>
                  <a:pt x="0" y="2952328"/>
                </a:lnTo>
                <a:close/>
              </a:path>
            </a:pathLst>
          </a:custGeom>
          <a:solidFill>
            <a:srgbClr val="C0C0C0"/>
          </a:solidFill>
          <a:ln w="28575" cap="flat" cmpd="sng" algn="ctr">
            <a:solidFill>
              <a:schemeClr val="tx2"/>
            </a:solidFill>
            <a:prstDash val="solid"/>
            <a:round/>
            <a:headEnd type="none" w="med" len="med"/>
            <a:tailEnd type="none" w="med" len="med"/>
          </a:ln>
          <a:effectLst/>
          <a:extLst/>
        </p:spPr>
        <p:txBody>
          <a:bodyPr rot="0" spcFirstLastPara="0" vertOverflow="overflow" horzOverflow="overflow" vert="horz" wrap="square" lIns="72000" tIns="612000" rIns="216000" bIns="72000" numCol="1" spcCol="0" rtlCol="0" fromWordArt="0" anchor="t" anchorCtr="0" forceAA="0" compatLnSpc="1">
            <a:prstTxWarp prst="textNoShape">
              <a:avLst/>
            </a:prstTxWarp>
            <a:noAutofit/>
          </a:bodyPr>
          <a:lstStyle/>
          <a:p>
            <a:endParaRPr lang="de-CH" b="1" dirty="0">
              <a:solidFill>
                <a:schemeClr val="tx2"/>
              </a:solidFill>
              <a:latin typeface="EYInterstate Light" panose="02000506000000020004" pitchFamily="2" charset="0"/>
            </a:endParaRPr>
          </a:p>
        </p:txBody>
      </p:sp>
      <p:sp>
        <p:nvSpPr>
          <p:cNvPr id="30" name="TextBox 29"/>
          <p:cNvSpPr txBox="1"/>
          <p:nvPr/>
        </p:nvSpPr>
        <p:spPr>
          <a:xfrm>
            <a:off x="2196351" y="4530893"/>
            <a:ext cx="2069936" cy="738664"/>
          </a:xfrm>
          <a:prstGeom prst="rect">
            <a:avLst/>
          </a:prstGeom>
          <a:noFill/>
        </p:spPr>
        <p:txBody>
          <a:bodyPr wrap="square" rtlCol="0">
            <a:spAutoFit/>
          </a:bodyPr>
          <a:lstStyle/>
          <a:p>
            <a:pPr defTabSz="893738">
              <a:spcBef>
                <a:spcPct val="0"/>
              </a:spcBef>
            </a:pPr>
            <a:r>
              <a:rPr lang="de-CH" sz="1400" b="1" dirty="0">
                <a:solidFill>
                  <a:schemeClr val="tx2"/>
                </a:solidFill>
                <a:latin typeface="EYInterstate Light" panose="02000506000000020004" pitchFamily="2" charset="0"/>
              </a:rPr>
              <a:t>Erzeugung und Erhalt von Wettbewerb unter Bietern</a:t>
            </a:r>
          </a:p>
        </p:txBody>
      </p:sp>
      <p:sp>
        <p:nvSpPr>
          <p:cNvPr id="31" name="Rectangle 30"/>
          <p:cNvSpPr/>
          <p:nvPr/>
        </p:nvSpPr>
        <p:spPr>
          <a:xfrm>
            <a:off x="522287" y="6012879"/>
            <a:ext cx="9648825" cy="57606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de-CH" sz="1600" dirty="0">
                <a:solidFill>
                  <a:schemeClr val="tx2"/>
                </a:solidFill>
                <a:latin typeface="EYInterstate Light" panose="02000506000000020004" pitchFamily="2" charset="0"/>
              </a:rPr>
              <a:t>Für die erfolgreiche Abwicklung eines Unternehmensverkaufs ist eine kompetentes und erfahrenes Projektmanagement unabdingbar</a:t>
            </a:r>
          </a:p>
        </p:txBody>
      </p:sp>
    </p:spTree>
    <p:extLst>
      <p:ext uri="{BB962C8B-B14F-4D97-AF65-F5344CB8AC3E}">
        <p14:creationId xmlns:p14="http://schemas.microsoft.com/office/powerpoint/2010/main" val="36972618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p>
            <a:fld id="{3B46A458-22BC-4CEB-8B77-767F46A3F3AB}" type="datetime3">
              <a:rPr lang="en-US" smtClean="0"/>
              <a:t>19 March 2018</a:t>
            </a:fld>
            <a:endParaRPr lang="en-US" dirty="0"/>
          </a:p>
        </p:txBody>
      </p:sp>
      <p:sp>
        <p:nvSpPr>
          <p:cNvPr id="10" name="Footer Placeholder 9"/>
          <p:cNvSpPr>
            <a:spLocks noGrp="1"/>
          </p:cNvSpPr>
          <p:nvPr>
            <p:ph type="ftr" sz="quarter" idx="11"/>
          </p:nvPr>
        </p:nvSpPr>
        <p:spPr/>
        <p:txBody>
          <a:bodyPr/>
          <a:lstStyle/>
          <a:p>
            <a:r>
              <a:rPr lang="en-US" dirty="0" err="1"/>
              <a:t>Unternehmenstransaktionen</a:t>
            </a:r>
            <a:r>
              <a:rPr lang="en-US" dirty="0"/>
              <a:t> in der </a:t>
            </a:r>
            <a:r>
              <a:rPr lang="en-US" dirty="0" err="1"/>
              <a:t>Schweiz</a:t>
            </a:r>
            <a:endParaRPr lang="en-US" dirty="0"/>
          </a:p>
        </p:txBody>
      </p:sp>
      <p:sp>
        <p:nvSpPr>
          <p:cNvPr id="5" name="TextBox 4"/>
          <p:cNvSpPr txBox="1"/>
          <p:nvPr/>
        </p:nvSpPr>
        <p:spPr>
          <a:xfrm>
            <a:off x="957382" y="1638429"/>
            <a:ext cx="7332074" cy="604569"/>
          </a:xfrm>
          <a:prstGeom prst="rect">
            <a:avLst/>
          </a:prstGeom>
          <a:solidFill>
            <a:schemeClr val="accent1"/>
          </a:solidFill>
        </p:spPr>
        <p:txBody>
          <a:bodyPr wrap="square" lIns="0" tIns="39477" rIns="0" bIns="0" rtlCol="0">
            <a:spAutoFit/>
          </a:bodyPr>
          <a:lstStyle/>
          <a:p>
            <a:pPr>
              <a:lnSpc>
                <a:spcPct val="85000"/>
              </a:lnSpc>
              <a:spcAft>
                <a:spcPts val="648"/>
              </a:spcAft>
              <a:buClr>
                <a:schemeClr val="accent2"/>
              </a:buClr>
              <a:buSzPct val="70000"/>
            </a:pPr>
            <a:r>
              <a:rPr lang="en-US" sz="4317" b="1" dirty="0" err="1">
                <a:solidFill>
                  <a:schemeClr val="accent2"/>
                </a:solidFill>
              </a:rPr>
              <a:t>Fragen</a:t>
            </a:r>
            <a:r>
              <a:rPr lang="en-US" sz="4317" b="1" dirty="0">
                <a:solidFill>
                  <a:schemeClr val="accent2"/>
                </a:solidFill>
              </a:rPr>
              <a:t> ? </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idx="1"/>
          </p:nvPr>
        </p:nvSpPr>
        <p:spPr>
          <a:xfrm>
            <a:off x="532734" y="490049"/>
            <a:ext cx="4425672" cy="5988323"/>
          </a:xfrm>
        </p:spPr>
        <p:txBody>
          <a:bodyPr/>
          <a:lstStyle/>
          <a:p>
            <a:pPr>
              <a:spcBef>
                <a:spcPts val="311"/>
              </a:spcBef>
            </a:pPr>
            <a:r>
              <a:rPr lang="en-US" b="1" dirty="0"/>
              <a:t>EY</a:t>
            </a:r>
            <a:r>
              <a:rPr lang="en-US" dirty="0"/>
              <a:t>  |  Assurance | Tax | Transactions | Advisory</a:t>
            </a:r>
          </a:p>
          <a:p>
            <a:pPr>
              <a:spcBef>
                <a:spcPts val="311"/>
              </a:spcBef>
            </a:pPr>
            <a:endParaRPr lang="en-US" b="1" dirty="0"/>
          </a:p>
          <a:p>
            <a:pPr>
              <a:spcBef>
                <a:spcPts val="311"/>
              </a:spcBef>
            </a:pPr>
            <a:r>
              <a:rPr lang="en-US" sz="971" b="1" dirty="0"/>
              <a:t>About the global EY organization</a:t>
            </a:r>
            <a:br>
              <a:rPr lang="en-US" sz="971" b="1" dirty="0"/>
            </a:br>
            <a:r>
              <a:rPr lang="en-US" sz="971" dirty="0"/>
              <a:t>The global EY organization is a leader in assurance, tax, transaction and advisory services. We leverage our experience, knowledge and services to help build trust and confidence in the capital markets and in economies the world over. We are ideally equipped for this task – with well trained employees, strong teams, excellent services and outstanding client relations. Our global purpose is to drive progress and make a difference by building a better working world – for our people, for our clients and for our communities.</a:t>
            </a:r>
          </a:p>
          <a:p>
            <a:pPr>
              <a:spcBef>
                <a:spcPts val="311"/>
              </a:spcBef>
            </a:pPr>
            <a:endParaRPr lang="en-US" sz="971" dirty="0"/>
          </a:p>
          <a:p>
            <a:pPr>
              <a:spcBef>
                <a:spcPts val="311"/>
              </a:spcBef>
            </a:pPr>
            <a:r>
              <a:rPr lang="en-US" sz="971" dirty="0"/>
              <a:t>The global EY organization refers to all member firms of Ernst &amp; Young Global Limited (EYG). Each EYG member firm is a separate legal entity and has no liability for another such entity’s acts or omissions. Ernst &amp; Young Global Limited, a UK company limited by guarantee, does not provide services to clients. For more information, please visit www.ey.com. </a:t>
            </a:r>
          </a:p>
          <a:p>
            <a:pPr>
              <a:spcBef>
                <a:spcPts val="311"/>
              </a:spcBef>
            </a:pPr>
            <a:endParaRPr lang="en-US" sz="971" dirty="0"/>
          </a:p>
          <a:p>
            <a:pPr>
              <a:spcBef>
                <a:spcPts val="311"/>
              </a:spcBef>
            </a:pPr>
            <a:endParaRPr lang="en-US" sz="971" dirty="0"/>
          </a:p>
          <a:p>
            <a:pPr>
              <a:spcBef>
                <a:spcPts val="311"/>
              </a:spcBef>
            </a:pPr>
            <a:r>
              <a:rPr lang="en-US" sz="971" dirty="0"/>
              <a:t>© 2017 Ernst &amp; Young AG</a:t>
            </a:r>
          </a:p>
          <a:p>
            <a:pPr>
              <a:spcBef>
                <a:spcPts val="311"/>
              </a:spcBef>
            </a:pPr>
            <a:r>
              <a:rPr lang="en-US" sz="971" dirty="0"/>
              <a:t>All Rights Reserved.</a:t>
            </a:r>
          </a:p>
          <a:p>
            <a:pPr>
              <a:spcBef>
                <a:spcPts val="311"/>
              </a:spcBef>
            </a:pPr>
            <a:endParaRPr lang="en-US" sz="971" dirty="0"/>
          </a:p>
          <a:p>
            <a:pPr>
              <a:spcBef>
                <a:spcPts val="311"/>
              </a:spcBef>
            </a:pPr>
            <a:r>
              <a:rPr lang="en-US" sz="971" dirty="0"/>
              <a:t>XXX 1701-123</a:t>
            </a:r>
            <a:br>
              <a:rPr lang="en-US" sz="971" dirty="0"/>
            </a:br>
            <a:r>
              <a:rPr lang="en-US" sz="971" dirty="0"/>
              <a:t>ED None</a:t>
            </a:r>
          </a:p>
          <a:p>
            <a:pPr>
              <a:spcBef>
                <a:spcPts val="311"/>
              </a:spcBef>
            </a:pPr>
            <a:endParaRPr lang="en-US" sz="971" dirty="0"/>
          </a:p>
          <a:p>
            <a:pPr>
              <a:spcBef>
                <a:spcPts val="311"/>
              </a:spcBef>
            </a:pPr>
            <a:r>
              <a:rPr lang="en-US" b="1" dirty="0"/>
              <a:t>www.ch.ey.com</a:t>
            </a:r>
          </a:p>
          <a:p>
            <a:pPr>
              <a:spcBef>
                <a:spcPts val="311"/>
              </a:spcBef>
            </a:pPr>
            <a:endParaRPr lang="en-US" sz="971" dirty="0"/>
          </a:p>
          <a:p>
            <a:pPr>
              <a:spcBef>
                <a:spcPts val="311"/>
              </a:spcBef>
            </a:pPr>
            <a:endParaRPr lang="de-DE" sz="971" dirty="0">
              <a:solidFill>
                <a:srgbClr val="646464"/>
              </a:solidFill>
            </a:endParaRPr>
          </a:p>
        </p:txBody>
      </p:sp>
    </p:spTree>
    <p:extLst>
      <p:ext uri="{BB962C8B-B14F-4D97-AF65-F5344CB8AC3E}">
        <p14:creationId xmlns:p14="http://schemas.microsoft.com/office/powerpoint/2010/main" val="24368991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Vorstellung Urs Indermühle / EY</a:t>
            </a:r>
          </a:p>
        </p:txBody>
      </p:sp>
      <p:sp>
        <p:nvSpPr>
          <p:cNvPr id="4" name="Date Placeholder 3"/>
          <p:cNvSpPr>
            <a:spLocks noGrp="1"/>
          </p:cNvSpPr>
          <p:nvPr>
            <p:ph type="dt" sz="half" idx="10"/>
          </p:nvPr>
        </p:nvSpPr>
        <p:spPr/>
        <p:txBody>
          <a:bodyPr/>
          <a:lstStyle/>
          <a:p>
            <a:r>
              <a:rPr lang="en-US" dirty="0"/>
              <a:t>20 </a:t>
            </a:r>
            <a:r>
              <a:rPr lang="en-US" dirty="0" err="1"/>
              <a:t>März</a:t>
            </a:r>
            <a:r>
              <a:rPr lang="en-US" dirty="0"/>
              <a:t> 2018</a:t>
            </a:r>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sp>
        <p:nvSpPr>
          <p:cNvPr id="6" name="Content Placeholder 2"/>
          <p:cNvSpPr txBox="1">
            <a:spLocks/>
          </p:cNvSpPr>
          <p:nvPr/>
        </p:nvSpPr>
        <p:spPr>
          <a:xfrm>
            <a:off x="534670" y="1587600"/>
            <a:ext cx="3090648" cy="5002212"/>
          </a:xfrm>
          <a:prstGeom prst="rect">
            <a:avLst/>
          </a:prstGeom>
        </p:spPr>
        <p:txBody>
          <a:bodyPr/>
          <a:lstStyle>
            <a:lvl1pPr marL="384896" indent="-384896" algn="l" defTabSz="986912"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69791" indent="-384896" algn="l" defTabSz="986912"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154687" indent="-384896" algn="l" defTabSz="986912"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539583" indent="-384896" algn="l" defTabSz="986912"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924478" indent="-384896" algn="l" defTabSz="986912"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714008"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6pPr>
            <a:lvl7pPr marL="3207464"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7pPr>
            <a:lvl8pPr marL="3700920"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8pPr>
            <a:lvl9pPr marL="4194376" indent="-246728" algn="l" defTabSz="986912" rtl="0" eaLnBrk="1" latinLnBrk="0" hangingPunct="1">
              <a:spcBef>
                <a:spcPct val="20000"/>
              </a:spcBef>
              <a:buFont typeface="Arial" pitchFamily="34" charset="0"/>
              <a:buChar char="•"/>
              <a:defRPr sz="2159" kern="1200">
                <a:solidFill>
                  <a:schemeClr val="tx1"/>
                </a:solidFill>
                <a:latin typeface="+mn-lt"/>
                <a:ea typeface="+mn-ea"/>
                <a:cs typeface="+mn-cs"/>
              </a:defRPr>
            </a:lvl9pPr>
          </a:lstStyle>
          <a:p>
            <a:r>
              <a:rPr lang="de-CH"/>
              <a:t>Zu Meiner Person </a:t>
            </a:r>
            <a:endParaRPr lang="de-CH" dirty="0"/>
          </a:p>
        </p:txBody>
      </p:sp>
      <p:sp>
        <p:nvSpPr>
          <p:cNvPr id="7" name="Freeform 99"/>
          <p:cNvSpPr>
            <a:spLocks noChangeAspect="1" noEditPoints="1"/>
          </p:cNvSpPr>
          <p:nvPr/>
        </p:nvSpPr>
        <p:spPr bwMode="gray">
          <a:xfrm>
            <a:off x="3951074" y="2113906"/>
            <a:ext cx="592070" cy="325914"/>
          </a:xfrm>
          <a:custGeom>
            <a:avLst/>
            <a:gdLst>
              <a:gd name="T0" fmla="*/ 2147483647 w 6736"/>
              <a:gd name="T1" fmla="*/ 2147483647 h 3497"/>
              <a:gd name="T2" fmla="*/ 2147483647 w 6736"/>
              <a:gd name="T3" fmla="*/ 2147483647 h 3497"/>
              <a:gd name="T4" fmla="*/ 2147483647 w 6736"/>
              <a:gd name="T5" fmla="*/ 2147483647 h 3497"/>
              <a:gd name="T6" fmla="*/ 2147483647 w 6736"/>
              <a:gd name="T7" fmla="*/ 2147483647 h 3497"/>
              <a:gd name="T8" fmla="*/ 2147483647 w 6736"/>
              <a:gd name="T9" fmla="*/ 2147483647 h 3497"/>
              <a:gd name="T10" fmla="*/ 2147483647 w 6736"/>
              <a:gd name="T11" fmla="*/ 2147483647 h 3497"/>
              <a:gd name="T12" fmla="*/ 2147483647 w 6736"/>
              <a:gd name="T13" fmla="*/ 2147483647 h 3497"/>
              <a:gd name="T14" fmla="*/ 2147483647 w 6736"/>
              <a:gd name="T15" fmla="*/ 2147483647 h 3497"/>
              <a:gd name="T16" fmla="*/ 2147483647 w 6736"/>
              <a:gd name="T17" fmla="*/ 2147483647 h 3497"/>
              <a:gd name="T18" fmla="*/ 2147483647 w 6736"/>
              <a:gd name="T19" fmla="*/ 2147483647 h 3497"/>
              <a:gd name="T20" fmla="*/ 2147483647 w 6736"/>
              <a:gd name="T21" fmla="*/ 2147483647 h 3497"/>
              <a:gd name="T22" fmla="*/ 0 w 6736"/>
              <a:gd name="T23" fmla="*/ 2147483647 h 3497"/>
              <a:gd name="T24" fmla="*/ 2147483647 w 6736"/>
              <a:gd name="T25" fmla="*/ 2147483647 h 3497"/>
              <a:gd name="T26" fmla="*/ 2147483647 w 6736"/>
              <a:gd name="T27" fmla="*/ 2147483647 h 3497"/>
              <a:gd name="T28" fmla="*/ 2147483647 w 6736"/>
              <a:gd name="T29" fmla="*/ 2147483647 h 3497"/>
              <a:gd name="T30" fmla="*/ 2147483647 w 6736"/>
              <a:gd name="T31" fmla="*/ 2147483647 h 3497"/>
              <a:gd name="T32" fmla="*/ 2147483647 w 6736"/>
              <a:gd name="T33" fmla="*/ 2147483647 h 3497"/>
              <a:gd name="T34" fmla="*/ 2147483647 w 6736"/>
              <a:gd name="T35" fmla="*/ 2147483647 h 3497"/>
              <a:gd name="T36" fmla="*/ 2147483647 w 6736"/>
              <a:gd name="T37" fmla="*/ 2147483647 h 3497"/>
              <a:gd name="T38" fmla="*/ 2147483647 w 6736"/>
              <a:gd name="T39" fmla="*/ 2147483647 h 3497"/>
              <a:gd name="T40" fmla="*/ 2147483647 w 6736"/>
              <a:gd name="T41" fmla="*/ 2147483647 h 3497"/>
              <a:gd name="T42" fmla="*/ 2147483647 w 6736"/>
              <a:gd name="T43" fmla="*/ 2147483647 h 3497"/>
              <a:gd name="T44" fmla="*/ 2147483647 w 6736"/>
              <a:gd name="T45" fmla="*/ 2147483647 h 3497"/>
              <a:gd name="T46" fmla="*/ 2147483647 w 6736"/>
              <a:gd name="T47" fmla="*/ 2147483647 h 3497"/>
              <a:gd name="T48" fmla="*/ 2147483647 w 6736"/>
              <a:gd name="T49" fmla="*/ 2147483647 h 3497"/>
              <a:gd name="T50" fmla="*/ 2147483647 w 6736"/>
              <a:gd name="T51" fmla="*/ 2147483647 h 3497"/>
              <a:gd name="T52" fmla="*/ 2147483647 w 6736"/>
              <a:gd name="T53" fmla="*/ 2147483647 h 3497"/>
              <a:gd name="T54" fmla="*/ 2147483647 w 6736"/>
              <a:gd name="T55" fmla="*/ 2147483647 h 3497"/>
              <a:gd name="T56" fmla="*/ 2147483647 w 6736"/>
              <a:gd name="T57" fmla="*/ 2147483647 h 3497"/>
              <a:gd name="T58" fmla="*/ 2147483647 w 6736"/>
              <a:gd name="T59" fmla="*/ 2147483647 h 3497"/>
              <a:gd name="T60" fmla="*/ 2147483647 w 6736"/>
              <a:gd name="T61" fmla="*/ 2147483647 h 3497"/>
              <a:gd name="T62" fmla="*/ 2147483647 w 6736"/>
              <a:gd name="T63" fmla="*/ 2147483647 h 3497"/>
              <a:gd name="T64" fmla="*/ 2147483647 w 6736"/>
              <a:gd name="T65" fmla="*/ 2147483647 h 3497"/>
              <a:gd name="T66" fmla="*/ 2147483647 w 6736"/>
              <a:gd name="T67" fmla="*/ 2147483647 h 3497"/>
              <a:gd name="T68" fmla="*/ 2147483647 w 6736"/>
              <a:gd name="T69" fmla="*/ 2147483647 h 3497"/>
              <a:gd name="T70" fmla="*/ 2147483647 w 6736"/>
              <a:gd name="T71" fmla="*/ 2147483647 h 3497"/>
              <a:gd name="T72" fmla="*/ 2147483647 w 6736"/>
              <a:gd name="T73" fmla="*/ 2147483647 h 3497"/>
              <a:gd name="T74" fmla="*/ 2147483647 w 6736"/>
              <a:gd name="T75" fmla="*/ 2147483647 h 3497"/>
              <a:gd name="T76" fmla="*/ 2147483647 w 6736"/>
              <a:gd name="T77" fmla="*/ 2147483647 h 3497"/>
              <a:gd name="T78" fmla="*/ 2147483647 w 6736"/>
              <a:gd name="T79" fmla="*/ 2147483647 h 3497"/>
              <a:gd name="T80" fmla="*/ 2147483647 w 6736"/>
              <a:gd name="T81" fmla="*/ 2147483647 h 3497"/>
              <a:gd name="T82" fmla="*/ 2147483647 w 6736"/>
              <a:gd name="T83" fmla="*/ 2147483647 h 3497"/>
              <a:gd name="T84" fmla="*/ 2147483647 w 6736"/>
              <a:gd name="T85" fmla="*/ 2147483647 h 3497"/>
              <a:gd name="T86" fmla="*/ 2147483647 w 6736"/>
              <a:gd name="T87" fmla="*/ 2147483647 h 3497"/>
              <a:gd name="T88" fmla="*/ 2147483647 w 6736"/>
              <a:gd name="T89" fmla="*/ 2147483647 h 3497"/>
              <a:gd name="T90" fmla="*/ 2147483647 w 6736"/>
              <a:gd name="T91" fmla="*/ 2147483647 h 3497"/>
              <a:gd name="T92" fmla="*/ 2147483647 w 6736"/>
              <a:gd name="T93" fmla="*/ 2147483647 h 3497"/>
              <a:gd name="T94" fmla="*/ 2147483647 w 6736"/>
              <a:gd name="T95" fmla="*/ 2147483647 h 3497"/>
              <a:gd name="T96" fmla="*/ 2147483647 w 6736"/>
              <a:gd name="T97" fmla="*/ 2147483647 h 3497"/>
              <a:gd name="T98" fmla="*/ 2147483647 w 6736"/>
              <a:gd name="T99" fmla="*/ 2147483647 h 3497"/>
              <a:gd name="T100" fmla="*/ 2147483647 w 6736"/>
              <a:gd name="T101" fmla="*/ 2147483647 h 3497"/>
              <a:gd name="T102" fmla="*/ 2147483647 w 6736"/>
              <a:gd name="T103" fmla="*/ 2147483647 h 3497"/>
              <a:gd name="T104" fmla="*/ 2147483647 w 6736"/>
              <a:gd name="T105" fmla="*/ 2147483647 h 3497"/>
              <a:gd name="T106" fmla="*/ 2147483647 w 6736"/>
              <a:gd name="T107" fmla="*/ 2147483647 h 3497"/>
              <a:gd name="T108" fmla="*/ 2147483647 w 6736"/>
              <a:gd name="T109" fmla="*/ 2147483647 h 3497"/>
              <a:gd name="T110" fmla="*/ 2147483647 w 6736"/>
              <a:gd name="T111" fmla="*/ 2147483647 h 3497"/>
              <a:gd name="T112" fmla="*/ 2147483647 w 6736"/>
              <a:gd name="T113" fmla="*/ 2147483647 h 3497"/>
              <a:gd name="T114" fmla="*/ 2147483647 w 6736"/>
              <a:gd name="T115" fmla="*/ 2147483647 h 3497"/>
              <a:gd name="T116" fmla="*/ 2147483647 w 6736"/>
              <a:gd name="T117" fmla="*/ 2147483647 h 3497"/>
              <a:gd name="T118" fmla="*/ 2147483647 w 6736"/>
              <a:gd name="T119" fmla="*/ 2147483647 h 3497"/>
              <a:gd name="T120" fmla="*/ 2147483647 w 6736"/>
              <a:gd name="T121" fmla="*/ 2147483647 h 3497"/>
              <a:gd name="T122" fmla="*/ 2147483647 w 6736"/>
              <a:gd name="T123" fmla="*/ 2147483647 h 349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36"/>
              <a:gd name="T187" fmla="*/ 0 h 3497"/>
              <a:gd name="T188" fmla="*/ 6736 w 6736"/>
              <a:gd name="T189" fmla="*/ 3497 h 349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36" h="3497">
                <a:moveTo>
                  <a:pt x="35" y="690"/>
                </a:moveTo>
                <a:lnTo>
                  <a:pt x="206" y="604"/>
                </a:lnTo>
                <a:lnTo>
                  <a:pt x="233" y="598"/>
                </a:lnTo>
                <a:lnTo>
                  <a:pt x="745" y="579"/>
                </a:lnTo>
                <a:lnTo>
                  <a:pt x="1035" y="376"/>
                </a:lnTo>
                <a:lnTo>
                  <a:pt x="1065" y="365"/>
                </a:lnTo>
                <a:lnTo>
                  <a:pt x="1432" y="324"/>
                </a:lnTo>
                <a:lnTo>
                  <a:pt x="1454" y="325"/>
                </a:lnTo>
                <a:lnTo>
                  <a:pt x="1751" y="403"/>
                </a:lnTo>
                <a:lnTo>
                  <a:pt x="1752" y="351"/>
                </a:lnTo>
                <a:lnTo>
                  <a:pt x="1987" y="131"/>
                </a:lnTo>
                <a:lnTo>
                  <a:pt x="1991" y="126"/>
                </a:lnTo>
                <a:lnTo>
                  <a:pt x="1998" y="121"/>
                </a:lnTo>
                <a:lnTo>
                  <a:pt x="2007" y="116"/>
                </a:lnTo>
                <a:lnTo>
                  <a:pt x="2020" y="113"/>
                </a:lnTo>
                <a:lnTo>
                  <a:pt x="2704" y="2"/>
                </a:lnTo>
                <a:lnTo>
                  <a:pt x="2715" y="0"/>
                </a:lnTo>
                <a:lnTo>
                  <a:pt x="2726" y="2"/>
                </a:lnTo>
                <a:lnTo>
                  <a:pt x="2737" y="5"/>
                </a:lnTo>
                <a:lnTo>
                  <a:pt x="2749" y="11"/>
                </a:lnTo>
                <a:lnTo>
                  <a:pt x="2962" y="150"/>
                </a:lnTo>
                <a:lnTo>
                  <a:pt x="2969" y="155"/>
                </a:lnTo>
                <a:lnTo>
                  <a:pt x="2975" y="159"/>
                </a:lnTo>
                <a:lnTo>
                  <a:pt x="2983" y="171"/>
                </a:lnTo>
                <a:lnTo>
                  <a:pt x="2988" y="185"/>
                </a:lnTo>
                <a:lnTo>
                  <a:pt x="2989" y="198"/>
                </a:lnTo>
                <a:lnTo>
                  <a:pt x="2989" y="212"/>
                </a:lnTo>
                <a:lnTo>
                  <a:pt x="2986" y="225"/>
                </a:lnTo>
                <a:lnTo>
                  <a:pt x="2981" y="236"/>
                </a:lnTo>
                <a:lnTo>
                  <a:pt x="2975" y="246"/>
                </a:lnTo>
                <a:lnTo>
                  <a:pt x="2865" y="367"/>
                </a:lnTo>
                <a:lnTo>
                  <a:pt x="2796" y="695"/>
                </a:lnTo>
                <a:lnTo>
                  <a:pt x="2795" y="706"/>
                </a:lnTo>
                <a:lnTo>
                  <a:pt x="2792" y="714"/>
                </a:lnTo>
                <a:lnTo>
                  <a:pt x="2787" y="722"/>
                </a:lnTo>
                <a:lnTo>
                  <a:pt x="2782" y="727"/>
                </a:lnTo>
                <a:lnTo>
                  <a:pt x="2777" y="732"/>
                </a:lnTo>
                <a:lnTo>
                  <a:pt x="2771" y="737"/>
                </a:lnTo>
                <a:lnTo>
                  <a:pt x="2755" y="743"/>
                </a:lnTo>
                <a:lnTo>
                  <a:pt x="2530" y="818"/>
                </a:lnTo>
                <a:lnTo>
                  <a:pt x="2399" y="1005"/>
                </a:lnTo>
                <a:lnTo>
                  <a:pt x="2390" y="1016"/>
                </a:lnTo>
                <a:lnTo>
                  <a:pt x="2385" y="1021"/>
                </a:lnTo>
                <a:lnTo>
                  <a:pt x="2380" y="1025"/>
                </a:lnTo>
                <a:lnTo>
                  <a:pt x="2374" y="1029"/>
                </a:lnTo>
                <a:lnTo>
                  <a:pt x="2366" y="1030"/>
                </a:lnTo>
                <a:lnTo>
                  <a:pt x="2358" y="1032"/>
                </a:lnTo>
                <a:lnTo>
                  <a:pt x="2347" y="1032"/>
                </a:lnTo>
                <a:lnTo>
                  <a:pt x="2234" y="1032"/>
                </a:lnTo>
                <a:lnTo>
                  <a:pt x="2222" y="1032"/>
                </a:lnTo>
                <a:lnTo>
                  <a:pt x="2213" y="1029"/>
                </a:lnTo>
                <a:lnTo>
                  <a:pt x="2203" y="1024"/>
                </a:lnTo>
                <a:lnTo>
                  <a:pt x="2194" y="1019"/>
                </a:lnTo>
                <a:lnTo>
                  <a:pt x="2186" y="1011"/>
                </a:lnTo>
                <a:lnTo>
                  <a:pt x="2179" y="1003"/>
                </a:lnTo>
                <a:lnTo>
                  <a:pt x="2175" y="993"/>
                </a:lnTo>
                <a:lnTo>
                  <a:pt x="2171" y="982"/>
                </a:lnTo>
                <a:lnTo>
                  <a:pt x="2093" y="608"/>
                </a:lnTo>
                <a:lnTo>
                  <a:pt x="2025" y="520"/>
                </a:lnTo>
                <a:lnTo>
                  <a:pt x="1937" y="542"/>
                </a:lnTo>
                <a:lnTo>
                  <a:pt x="1912" y="899"/>
                </a:lnTo>
                <a:lnTo>
                  <a:pt x="2114" y="1198"/>
                </a:lnTo>
                <a:lnTo>
                  <a:pt x="2120" y="1210"/>
                </a:lnTo>
                <a:lnTo>
                  <a:pt x="2124" y="1223"/>
                </a:lnTo>
                <a:lnTo>
                  <a:pt x="2124" y="1237"/>
                </a:lnTo>
                <a:lnTo>
                  <a:pt x="2122" y="1250"/>
                </a:lnTo>
                <a:lnTo>
                  <a:pt x="2117" y="1265"/>
                </a:lnTo>
                <a:lnTo>
                  <a:pt x="2109" y="1276"/>
                </a:lnTo>
                <a:lnTo>
                  <a:pt x="2098" y="1285"/>
                </a:lnTo>
                <a:lnTo>
                  <a:pt x="2092" y="1290"/>
                </a:lnTo>
                <a:lnTo>
                  <a:pt x="2084" y="1293"/>
                </a:lnTo>
                <a:lnTo>
                  <a:pt x="1875" y="1375"/>
                </a:lnTo>
                <a:lnTo>
                  <a:pt x="1727" y="1719"/>
                </a:lnTo>
                <a:lnTo>
                  <a:pt x="1722" y="1730"/>
                </a:lnTo>
                <a:lnTo>
                  <a:pt x="1717" y="1737"/>
                </a:lnTo>
                <a:lnTo>
                  <a:pt x="1712" y="1743"/>
                </a:lnTo>
                <a:lnTo>
                  <a:pt x="1704" y="1749"/>
                </a:lnTo>
                <a:lnTo>
                  <a:pt x="1695" y="1752"/>
                </a:lnTo>
                <a:lnTo>
                  <a:pt x="1684" y="1756"/>
                </a:lnTo>
                <a:lnTo>
                  <a:pt x="1669" y="1757"/>
                </a:lnTo>
                <a:lnTo>
                  <a:pt x="1540" y="1757"/>
                </a:lnTo>
                <a:lnTo>
                  <a:pt x="1425" y="1765"/>
                </a:lnTo>
                <a:lnTo>
                  <a:pt x="1390" y="1867"/>
                </a:lnTo>
                <a:lnTo>
                  <a:pt x="1366" y="1939"/>
                </a:lnTo>
                <a:lnTo>
                  <a:pt x="1730" y="1981"/>
                </a:lnTo>
                <a:lnTo>
                  <a:pt x="1822" y="1981"/>
                </a:lnTo>
                <a:lnTo>
                  <a:pt x="1848" y="1987"/>
                </a:lnTo>
                <a:lnTo>
                  <a:pt x="2227" y="2158"/>
                </a:lnTo>
                <a:lnTo>
                  <a:pt x="2240" y="2164"/>
                </a:lnTo>
                <a:lnTo>
                  <a:pt x="2246" y="2169"/>
                </a:lnTo>
                <a:lnTo>
                  <a:pt x="2251" y="2175"/>
                </a:lnTo>
                <a:lnTo>
                  <a:pt x="2256" y="2181"/>
                </a:lnTo>
                <a:lnTo>
                  <a:pt x="2261" y="2191"/>
                </a:lnTo>
                <a:lnTo>
                  <a:pt x="2262" y="2201"/>
                </a:lnTo>
                <a:lnTo>
                  <a:pt x="2264" y="2212"/>
                </a:lnTo>
                <a:lnTo>
                  <a:pt x="2267" y="2269"/>
                </a:lnTo>
                <a:lnTo>
                  <a:pt x="2532" y="2352"/>
                </a:lnTo>
                <a:lnTo>
                  <a:pt x="2545" y="2358"/>
                </a:lnTo>
                <a:lnTo>
                  <a:pt x="2556" y="2366"/>
                </a:lnTo>
                <a:lnTo>
                  <a:pt x="2565" y="2378"/>
                </a:lnTo>
                <a:lnTo>
                  <a:pt x="2570" y="2390"/>
                </a:lnTo>
                <a:lnTo>
                  <a:pt x="2575" y="2401"/>
                </a:lnTo>
                <a:lnTo>
                  <a:pt x="2576" y="2414"/>
                </a:lnTo>
                <a:lnTo>
                  <a:pt x="2575" y="2427"/>
                </a:lnTo>
                <a:lnTo>
                  <a:pt x="2572" y="2438"/>
                </a:lnTo>
                <a:lnTo>
                  <a:pt x="2441" y="2744"/>
                </a:lnTo>
                <a:lnTo>
                  <a:pt x="2417" y="2773"/>
                </a:lnTo>
                <a:lnTo>
                  <a:pt x="2317" y="2838"/>
                </a:lnTo>
                <a:lnTo>
                  <a:pt x="2194" y="3036"/>
                </a:lnTo>
                <a:lnTo>
                  <a:pt x="2171" y="3057"/>
                </a:lnTo>
                <a:lnTo>
                  <a:pt x="2012" y="3153"/>
                </a:lnTo>
                <a:lnTo>
                  <a:pt x="1934" y="3451"/>
                </a:lnTo>
                <a:lnTo>
                  <a:pt x="1931" y="3460"/>
                </a:lnTo>
                <a:lnTo>
                  <a:pt x="1926" y="3471"/>
                </a:lnTo>
                <a:lnTo>
                  <a:pt x="1920" y="3479"/>
                </a:lnTo>
                <a:lnTo>
                  <a:pt x="1913" y="3486"/>
                </a:lnTo>
                <a:lnTo>
                  <a:pt x="1905" y="3491"/>
                </a:lnTo>
                <a:lnTo>
                  <a:pt x="1896" y="3495"/>
                </a:lnTo>
                <a:lnTo>
                  <a:pt x="1884" y="3497"/>
                </a:lnTo>
                <a:lnTo>
                  <a:pt x="1873" y="3497"/>
                </a:lnTo>
                <a:lnTo>
                  <a:pt x="1792" y="3497"/>
                </a:lnTo>
                <a:lnTo>
                  <a:pt x="1776" y="3497"/>
                </a:lnTo>
                <a:lnTo>
                  <a:pt x="1770" y="3495"/>
                </a:lnTo>
                <a:lnTo>
                  <a:pt x="1762" y="3492"/>
                </a:lnTo>
                <a:lnTo>
                  <a:pt x="1755" y="3489"/>
                </a:lnTo>
                <a:lnTo>
                  <a:pt x="1749" y="3483"/>
                </a:lnTo>
                <a:lnTo>
                  <a:pt x="1743" y="3475"/>
                </a:lnTo>
                <a:lnTo>
                  <a:pt x="1736" y="3464"/>
                </a:lnTo>
                <a:lnTo>
                  <a:pt x="1676" y="3350"/>
                </a:lnTo>
                <a:lnTo>
                  <a:pt x="1668" y="3312"/>
                </a:lnTo>
                <a:lnTo>
                  <a:pt x="1743" y="2695"/>
                </a:lnTo>
                <a:lnTo>
                  <a:pt x="1656" y="2642"/>
                </a:lnTo>
                <a:lnTo>
                  <a:pt x="1633" y="2617"/>
                </a:lnTo>
                <a:lnTo>
                  <a:pt x="1537" y="2417"/>
                </a:lnTo>
                <a:lnTo>
                  <a:pt x="1531" y="2401"/>
                </a:lnTo>
                <a:lnTo>
                  <a:pt x="1529" y="2394"/>
                </a:lnTo>
                <a:lnTo>
                  <a:pt x="1529" y="2387"/>
                </a:lnTo>
                <a:lnTo>
                  <a:pt x="1529" y="2381"/>
                </a:lnTo>
                <a:lnTo>
                  <a:pt x="1532" y="2374"/>
                </a:lnTo>
                <a:lnTo>
                  <a:pt x="1537" y="2362"/>
                </a:lnTo>
                <a:lnTo>
                  <a:pt x="1602" y="2234"/>
                </a:lnTo>
                <a:lnTo>
                  <a:pt x="1543" y="2173"/>
                </a:lnTo>
                <a:lnTo>
                  <a:pt x="1261" y="2071"/>
                </a:lnTo>
                <a:lnTo>
                  <a:pt x="1237" y="2057"/>
                </a:lnTo>
                <a:lnTo>
                  <a:pt x="740" y="1568"/>
                </a:lnTo>
                <a:lnTo>
                  <a:pt x="732" y="1560"/>
                </a:lnTo>
                <a:lnTo>
                  <a:pt x="725" y="1548"/>
                </a:lnTo>
                <a:lnTo>
                  <a:pt x="721" y="1534"/>
                </a:lnTo>
                <a:lnTo>
                  <a:pt x="721" y="1526"/>
                </a:lnTo>
                <a:lnTo>
                  <a:pt x="721" y="1518"/>
                </a:lnTo>
                <a:lnTo>
                  <a:pt x="737" y="1312"/>
                </a:lnTo>
                <a:lnTo>
                  <a:pt x="505" y="1043"/>
                </a:lnTo>
                <a:lnTo>
                  <a:pt x="426" y="1043"/>
                </a:lnTo>
                <a:lnTo>
                  <a:pt x="266" y="1156"/>
                </a:lnTo>
                <a:lnTo>
                  <a:pt x="198" y="1159"/>
                </a:lnTo>
                <a:lnTo>
                  <a:pt x="45" y="1073"/>
                </a:lnTo>
                <a:lnTo>
                  <a:pt x="35" y="1068"/>
                </a:lnTo>
                <a:lnTo>
                  <a:pt x="29" y="1062"/>
                </a:lnTo>
                <a:lnTo>
                  <a:pt x="22" y="1057"/>
                </a:lnTo>
                <a:lnTo>
                  <a:pt x="19" y="1051"/>
                </a:lnTo>
                <a:lnTo>
                  <a:pt x="16" y="1044"/>
                </a:lnTo>
                <a:lnTo>
                  <a:pt x="14" y="1037"/>
                </a:lnTo>
                <a:lnTo>
                  <a:pt x="11" y="1021"/>
                </a:lnTo>
                <a:lnTo>
                  <a:pt x="0" y="749"/>
                </a:lnTo>
                <a:lnTo>
                  <a:pt x="0" y="740"/>
                </a:lnTo>
                <a:lnTo>
                  <a:pt x="2" y="732"/>
                </a:lnTo>
                <a:lnTo>
                  <a:pt x="5" y="722"/>
                </a:lnTo>
                <a:lnTo>
                  <a:pt x="8" y="714"/>
                </a:lnTo>
                <a:lnTo>
                  <a:pt x="13" y="708"/>
                </a:lnTo>
                <a:lnTo>
                  <a:pt x="19" y="702"/>
                </a:lnTo>
                <a:lnTo>
                  <a:pt x="27" y="695"/>
                </a:lnTo>
                <a:lnTo>
                  <a:pt x="35" y="690"/>
                </a:lnTo>
                <a:close/>
                <a:moveTo>
                  <a:pt x="1825" y="3361"/>
                </a:moveTo>
                <a:lnTo>
                  <a:pt x="1896" y="3094"/>
                </a:lnTo>
                <a:lnTo>
                  <a:pt x="1924" y="3055"/>
                </a:lnTo>
                <a:lnTo>
                  <a:pt x="2093" y="2955"/>
                </a:lnTo>
                <a:lnTo>
                  <a:pt x="2215" y="2759"/>
                </a:lnTo>
                <a:lnTo>
                  <a:pt x="2235" y="2738"/>
                </a:lnTo>
                <a:lnTo>
                  <a:pt x="2332" y="2676"/>
                </a:lnTo>
                <a:lnTo>
                  <a:pt x="2427" y="2453"/>
                </a:lnTo>
                <a:lnTo>
                  <a:pt x="2187" y="2378"/>
                </a:lnTo>
                <a:lnTo>
                  <a:pt x="2179" y="2374"/>
                </a:lnTo>
                <a:lnTo>
                  <a:pt x="2171" y="2371"/>
                </a:lnTo>
                <a:lnTo>
                  <a:pt x="2163" y="2366"/>
                </a:lnTo>
                <a:lnTo>
                  <a:pt x="2157" y="2360"/>
                </a:lnTo>
                <a:lnTo>
                  <a:pt x="2152" y="2352"/>
                </a:lnTo>
                <a:lnTo>
                  <a:pt x="2148" y="2344"/>
                </a:lnTo>
                <a:lnTo>
                  <a:pt x="2144" y="2333"/>
                </a:lnTo>
                <a:lnTo>
                  <a:pt x="2143" y="2320"/>
                </a:lnTo>
                <a:lnTo>
                  <a:pt x="2140" y="2258"/>
                </a:lnTo>
                <a:lnTo>
                  <a:pt x="1808" y="2108"/>
                </a:lnTo>
                <a:lnTo>
                  <a:pt x="1725" y="2108"/>
                </a:lnTo>
                <a:lnTo>
                  <a:pt x="1719" y="2108"/>
                </a:lnTo>
                <a:lnTo>
                  <a:pt x="1650" y="2100"/>
                </a:lnTo>
                <a:lnTo>
                  <a:pt x="1725" y="2175"/>
                </a:lnTo>
                <a:lnTo>
                  <a:pt x="1738" y="2250"/>
                </a:lnTo>
                <a:lnTo>
                  <a:pt x="1666" y="2390"/>
                </a:lnTo>
                <a:lnTo>
                  <a:pt x="1739" y="2543"/>
                </a:lnTo>
                <a:lnTo>
                  <a:pt x="1843" y="2609"/>
                </a:lnTo>
                <a:lnTo>
                  <a:pt x="1854" y="2617"/>
                </a:lnTo>
                <a:lnTo>
                  <a:pt x="1862" y="2623"/>
                </a:lnTo>
                <a:lnTo>
                  <a:pt x="1867" y="2631"/>
                </a:lnTo>
                <a:lnTo>
                  <a:pt x="1872" y="2639"/>
                </a:lnTo>
                <a:lnTo>
                  <a:pt x="1873" y="2647"/>
                </a:lnTo>
                <a:lnTo>
                  <a:pt x="1875" y="2655"/>
                </a:lnTo>
                <a:lnTo>
                  <a:pt x="1873" y="2671"/>
                </a:lnTo>
                <a:lnTo>
                  <a:pt x="1797" y="3307"/>
                </a:lnTo>
                <a:lnTo>
                  <a:pt x="1825" y="3361"/>
                </a:lnTo>
                <a:close/>
                <a:moveTo>
                  <a:pt x="1248" y="1888"/>
                </a:moveTo>
                <a:lnTo>
                  <a:pt x="1269" y="1826"/>
                </a:lnTo>
                <a:lnTo>
                  <a:pt x="1320" y="1684"/>
                </a:lnTo>
                <a:lnTo>
                  <a:pt x="1323" y="1676"/>
                </a:lnTo>
                <a:lnTo>
                  <a:pt x="1328" y="1668"/>
                </a:lnTo>
                <a:lnTo>
                  <a:pt x="1333" y="1662"/>
                </a:lnTo>
                <a:lnTo>
                  <a:pt x="1339" y="1655"/>
                </a:lnTo>
                <a:lnTo>
                  <a:pt x="1347" y="1650"/>
                </a:lnTo>
                <a:lnTo>
                  <a:pt x="1355" y="1646"/>
                </a:lnTo>
                <a:lnTo>
                  <a:pt x="1365" y="1642"/>
                </a:lnTo>
                <a:lnTo>
                  <a:pt x="1376" y="1641"/>
                </a:lnTo>
                <a:lnTo>
                  <a:pt x="1535" y="1630"/>
                </a:lnTo>
                <a:lnTo>
                  <a:pt x="1626" y="1630"/>
                </a:lnTo>
                <a:lnTo>
                  <a:pt x="1768" y="1301"/>
                </a:lnTo>
                <a:lnTo>
                  <a:pt x="1803" y="1266"/>
                </a:lnTo>
                <a:lnTo>
                  <a:pt x="1963" y="1204"/>
                </a:lnTo>
                <a:lnTo>
                  <a:pt x="1794" y="954"/>
                </a:lnTo>
                <a:lnTo>
                  <a:pt x="1782" y="912"/>
                </a:lnTo>
                <a:lnTo>
                  <a:pt x="1808" y="550"/>
                </a:lnTo>
                <a:lnTo>
                  <a:pt x="1433" y="451"/>
                </a:lnTo>
                <a:lnTo>
                  <a:pt x="1095" y="490"/>
                </a:lnTo>
                <a:lnTo>
                  <a:pt x="802" y="695"/>
                </a:lnTo>
                <a:lnTo>
                  <a:pt x="767" y="706"/>
                </a:lnTo>
                <a:lnTo>
                  <a:pt x="250" y="724"/>
                </a:lnTo>
                <a:lnTo>
                  <a:pt x="129" y="786"/>
                </a:lnTo>
                <a:lnTo>
                  <a:pt x="137" y="979"/>
                </a:lnTo>
                <a:lnTo>
                  <a:pt x="225" y="1029"/>
                </a:lnTo>
                <a:lnTo>
                  <a:pt x="368" y="928"/>
                </a:lnTo>
                <a:lnTo>
                  <a:pt x="373" y="925"/>
                </a:lnTo>
                <a:lnTo>
                  <a:pt x="379" y="920"/>
                </a:lnTo>
                <a:lnTo>
                  <a:pt x="391" y="917"/>
                </a:lnTo>
                <a:lnTo>
                  <a:pt x="405" y="915"/>
                </a:lnTo>
                <a:lnTo>
                  <a:pt x="534" y="915"/>
                </a:lnTo>
                <a:lnTo>
                  <a:pt x="550" y="919"/>
                </a:lnTo>
                <a:lnTo>
                  <a:pt x="563" y="922"/>
                </a:lnTo>
                <a:lnTo>
                  <a:pt x="574" y="930"/>
                </a:lnTo>
                <a:lnTo>
                  <a:pt x="584" y="938"/>
                </a:lnTo>
                <a:lnTo>
                  <a:pt x="850" y="1249"/>
                </a:lnTo>
                <a:lnTo>
                  <a:pt x="856" y="1260"/>
                </a:lnTo>
                <a:lnTo>
                  <a:pt x="863" y="1271"/>
                </a:lnTo>
                <a:lnTo>
                  <a:pt x="864" y="1284"/>
                </a:lnTo>
                <a:lnTo>
                  <a:pt x="866" y="1295"/>
                </a:lnTo>
                <a:lnTo>
                  <a:pt x="850" y="1497"/>
                </a:lnTo>
                <a:lnTo>
                  <a:pt x="1248" y="1888"/>
                </a:lnTo>
                <a:close/>
                <a:moveTo>
                  <a:pt x="1888" y="399"/>
                </a:moveTo>
                <a:lnTo>
                  <a:pt x="1907" y="418"/>
                </a:lnTo>
                <a:lnTo>
                  <a:pt x="2034" y="386"/>
                </a:lnTo>
                <a:lnTo>
                  <a:pt x="2046" y="384"/>
                </a:lnTo>
                <a:lnTo>
                  <a:pt x="2055" y="384"/>
                </a:lnTo>
                <a:lnTo>
                  <a:pt x="2065" y="384"/>
                </a:lnTo>
                <a:lnTo>
                  <a:pt x="2073" y="387"/>
                </a:lnTo>
                <a:lnTo>
                  <a:pt x="2081" y="391"/>
                </a:lnTo>
                <a:lnTo>
                  <a:pt x="2089" y="395"/>
                </a:lnTo>
                <a:lnTo>
                  <a:pt x="2095" y="402"/>
                </a:lnTo>
                <a:lnTo>
                  <a:pt x="2101" y="408"/>
                </a:lnTo>
                <a:lnTo>
                  <a:pt x="2203" y="542"/>
                </a:lnTo>
                <a:lnTo>
                  <a:pt x="2215" y="568"/>
                </a:lnTo>
                <a:lnTo>
                  <a:pt x="2286" y="904"/>
                </a:lnTo>
                <a:lnTo>
                  <a:pt x="2288" y="909"/>
                </a:lnTo>
                <a:lnTo>
                  <a:pt x="2291" y="914"/>
                </a:lnTo>
                <a:lnTo>
                  <a:pt x="2294" y="915"/>
                </a:lnTo>
                <a:lnTo>
                  <a:pt x="2297" y="915"/>
                </a:lnTo>
                <a:lnTo>
                  <a:pt x="2302" y="915"/>
                </a:lnTo>
                <a:lnTo>
                  <a:pt x="2305" y="912"/>
                </a:lnTo>
                <a:lnTo>
                  <a:pt x="2310" y="909"/>
                </a:lnTo>
                <a:lnTo>
                  <a:pt x="2313" y="904"/>
                </a:lnTo>
                <a:lnTo>
                  <a:pt x="2438" y="727"/>
                </a:lnTo>
                <a:lnTo>
                  <a:pt x="2470" y="703"/>
                </a:lnTo>
                <a:lnTo>
                  <a:pt x="2680" y="635"/>
                </a:lnTo>
                <a:lnTo>
                  <a:pt x="2744" y="324"/>
                </a:lnTo>
                <a:lnTo>
                  <a:pt x="2760" y="293"/>
                </a:lnTo>
                <a:lnTo>
                  <a:pt x="2830" y="215"/>
                </a:lnTo>
                <a:lnTo>
                  <a:pt x="2699" y="131"/>
                </a:lnTo>
                <a:lnTo>
                  <a:pt x="2060" y="236"/>
                </a:lnTo>
                <a:lnTo>
                  <a:pt x="1888" y="399"/>
                </a:lnTo>
                <a:close/>
                <a:moveTo>
                  <a:pt x="2897" y="2079"/>
                </a:moveTo>
                <a:lnTo>
                  <a:pt x="2991" y="2239"/>
                </a:lnTo>
                <a:lnTo>
                  <a:pt x="3248" y="2221"/>
                </a:lnTo>
                <a:lnTo>
                  <a:pt x="3280" y="2228"/>
                </a:lnTo>
                <a:lnTo>
                  <a:pt x="3453" y="2309"/>
                </a:lnTo>
                <a:lnTo>
                  <a:pt x="3461" y="2314"/>
                </a:lnTo>
                <a:lnTo>
                  <a:pt x="3468" y="2319"/>
                </a:lnTo>
                <a:lnTo>
                  <a:pt x="3474" y="2325"/>
                </a:lnTo>
                <a:lnTo>
                  <a:pt x="3479" y="2331"/>
                </a:lnTo>
                <a:lnTo>
                  <a:pt x="3484" y="2339"/>
                </a:lnTo>
                <a:lnTo>
                  <a:pt x="3487" y="2347"/>
                </a:lnTo>
                <a:lnTo>
                  <a:pt x="3488" y="2355"/>
                </a:lnTo>
                <a:lnTo>
                  <a:pt x="3488" y="2365"/>
                </a:lnTo>
                <a:lnTo>
                  <a:pt x="3500" y="2684"/>
                </a:lnTo>
                <a:lnTo>
                  <a:pt x="3581" y="3003"/>
                </a:lnTo>
                <a:lnTo>
                  <a:pt x="3648" y="3030"/>
                </a:lnTo>
                <a:lnTo>
                  <a:pt x="3787" y="2738"/>
                </a:lnTo>
                <a:lnTo>
                  <a:pt x="3807" y="2712"/>
                </a:lnTo>
                <a:lnTo>
                  <a:pt x="3876" y="2665"/>
                </a:lnTo>
                <a:lnTo>
                  <a:pt x="3842" y="2502"/>
                </a:lnTo>
                <a:lnTo>
                  <a:pt x="3855" y="2448"/>
                </a:lnTo>
                <a:lnTo>
                  <a:pt x="4018" y="2253"/>
                </a:lnTo>
                <a:lnTo>
                  <a:pt x="3938" y="2256"/>
                </a:lnTo>
                <a:lnTo>
                  <a:pt x="3877" y="2218"/>
                </a:lnTo>
                <a:lnTo>
                  <a:pt x="3716" y="1850"/>
                </a:lnTo>
                <a:lnTo>
                  <a:pt x="3597" y="1818"/>
                </a:lnTo>
                <a:lnTo>
                  <a:pt x="3571" y="1859"/>
                </a:lnTo>
                <a:lnTo>
                  <a:pt x="3484" y="1880"/>
                </a:lnTo>
                <a:lnTo>
                  <a:pt x="3305" y="1772"/>
                </a:lnTo>
                <a:lnTo>
                  <a:pt x="3020" y="1859"/>
                </a:lnTo>
                <a:lnTo>
                  <a:pt x="2897" y="2079"/>
                </a:lnTo>
                <a:close/>
                <a:moveTo>
                  <a:pt x="2768" y="2049"/>
                </a:moveTo>
                <a:lnTo>
                  <a:pt x="2921" y="1775"/>
                </a:lnTo>
                <a:lnTo>
                  <a:pt x="2957" y="1745"/>
                </a:lnTo>
                <a:lnTo>
                  <a:pt x="3294" y="1641"/>
                </a:lnTo>
                <a:lnTo>
                  <a:pt x="3308" y="1638"/>
                </a:lnTo>
                <a:lnTo>
                  <a:pt x="3321" y="1639"/>
                </a:lnTo>
                <a:lnTo>
                  <a:pt x="3334" y="1642"/>
                </a:lnTo>
                <a:lnTo>
                  <a:pt x="3346" y="1647"/>
                </a:lnTo>
                <a:lnTo>
                  <a:pt x="3496" y="1738"/>
                </a:lnTo>
                <a:lnTo>
                  <a:pt x="3514" y="1711"/>
                </a:lnTo>
                <a:lnTo>
                  <a:pt x="3519" y="1705"/>
                </a:lnTo>
                <a:lnTo>
                  <a:pt x="3523" y="1700"/>
                </a:lnTo>
                <a:lnTo>
                  <a:pt x="3531" y="1693"/>
                </a:lnTo>
                <a:lnTo>
                  <a:pt x="3539" y="1689"/>
                </a:lnTo>
                <a:lnTo>
                  <a:pt x="3549" y="1684"/>
                </a:lnTo>
                <a:lnTo>
                  <a:pt x="3560" y="1681"/>
                </a:lnTo>
                <a:lnTo>
                  <a:pt x="3571" y="1681"/>
                </a:lnTo>
                <a:lnTo>
                  <a:pt x="3584" y="1682"/>
                </a:lnTo>
                <a:lnTo>
                  <a:pt x="3779" y="1733"/>
                </a:lnTo>
                <a:lnTo>
                  <a:pt x="3785" y="1737"/>
                </a:lnTo>
                <a:lnTo>
                  <a:pt x="3793" y="1740"/>
                </a:lnTo>
                <a:lnTo>
                  <a:pt x="3804" y="1748"/>
                </a:lnTo>
                <a:lnTo>
                  <a:pt x="3814" y="1759"/>
                </a:lnTo>
                <a:lnTo>
                  <a:pt x="3820" y="1770"/>
                </a:lnTo>
                <a:lnTo>
                  <a:pt x="3976" y="2127"/>
                </a:lnTo>
                <a:lnTo>
                  <a:pt x="4156" y="2119"/>
                </a:lnTo>
                <a:lnTo>
                  <a:pt x="4166" y="2119"/>
                </a:lnTo>
                <a:lnTo>
                  <a:pt x="4174" y="2121"/>
                </a:lnTo>
                <a:lnTo>
                  <a:pt x="4182" y="2124"/>
                </a:lnTo>
                <a:lnTo>
                  <a:pt x="4190" y="2129"/>
                </a:lnTo>
                <a:lnTo>
                  <a:pt x="4196" y="2135"/>
                </a:lnTo>
                <a:lnTo>
                  <a:pt x="4203" y="2142"/>
                </a:lnTo>
                <a:lnTo>
                  <a:pt x="4207" y="2150"/>
                </a:lnTo>
                <a:lnTo>
                  <a:pt x="4212" y="2158"/>
                </a:lnTo>
                <a:lnTo>
                  <a:pt x="4215" y="2165"/>
                </a:lnTo>
                <a:lnTo>
                  <a:pt x="4219" y="2173"/>
                </a:lnTo>
                <a:lnTo>
                  <a:pt x="4220" y="2183"/>
                </a:lnTo>
                <a:lnTo>
                  <a:pt x="4220" y="2191"/>
                </a:lnTo>
                <a:lnTo>
                  <a:pt x="4219" y="2201"/>
                </a:lnTo>
                <a:lnTo>
                  <a:pt x="4217" y="2209"/>
                </a:lnTo>
                <a:lnTo>
                  <a:pt x="4214" y="2217"/>
                </a:lnTo>
                <a:lnTo>
                  <a:pt x="4209" y="2223"/>
                </a:lnTo>
                <a:lnTo>
                  <a:pt x="3973" y="2507"/>
                </a:lnTo>
                <a:lnTo>
                  <a:pt x="4008" y="2681"/>
                </a:lnTo>
                <a:lnTo>
                  <a:pt x="4010" y="2692"/>
                </a:lnTo>
                <a:lnTo>
                  <a:pt x="4010" y="2703"/>
                </a:lnTo>
                <a:lnTo>
                  <a:pt x="4008" y="2712"/>
                </a:lnTo>
                <a:lnTo>
                  <a:pt x="4003" y="2722"/>
                </a:lnTo>
                <a:lnTo>
                  <a:pt x="4000" y="2728"/>
                </a:lnTo>
                <a:lnTo>
                  <a:pt x="3994" y="2735"/>
                </a:lnTo>
                <a:lnTo>
                  <a:pt x="3983" y="2746"/>
                </a:lnTo>
                <a:lnTo>
                  <a:pt x="3895" y="2807"/>
                </a:lnTo>
                <a:lnTo>
                  <a:pt x="3739" y="3138"/>
                </a:lnTo>
                <a:lnTo>
                  <a:pt x="3731" y="3151"/>
                </a:lnTo>
                <a:lnTo>
                  <a:pt x="3723" y="3161"/>
                </a:lnTo>
                <a:lnTo>
                  <a:pt x="3713" y="3167"/>
                </a:lnTo>
                <a:lnTo>
                  <a:pt x="3704" y="3172"/>
                </a:lnTo>
                <a:lnTo>
                  <a:pt x="3692" y="3175"/>
                </a:lnTo>
                <a:lnTo>
                  <a:pt x="3681" y="3176"/>
                </a:lnTo>
                <a:lnTo>
                  <a:pt x="3669" y="3175"/>
                </a:lnTo>
                <a:lnTo>
                  <a:pt x="3657" y="3170"/>
                </a:lnTo>
                <a:lnTo>
                  <a:pt x="3504" y="3110"/>
                </a:lnTo>
                <a:lnTo>
                  <a:pt x="3496" y="3106"/>
                </a:lnTo>
                <a:lnTo>
                  <a:pt x="3488" y="3102"/>
                </a:lnTo>
                <a:lnTo>
                  <a:pt x="3482" y="3095"/>
                </a:lnTo>
                <a:lnTo>
                  <a:pt x="3477" y="3090"/>
                </a:lnTo>
                <a:lnTo>
                  <a:pt x="3469" y="3078"/>
                </a:lnTo>
                <a:lnTo>
                  <a:pt x="3466" y="3066"/>
                </a:lnTo>
                <a:lnTo>
                  <a:pt x="3374" y="2709"/>
                </a:lnTo>
                <a:lnTo>
                  <a:pt x="3372" y="2695"/>
                </a:lnTo>
                <a:lnTo>
                  <a:pt x="3362" y="2408"/>
                </a:lnTo>
                <a:lnTo>
                  <a:pt x="3240" y="2349"/>
                </a:lnTo>
                <a:lnTo>
                  <a:pt x="2961" y="2370"/>
                </a:lnTo>
                <a:lnTo>
                  <a:pt x="2902" y="2338"/>
                </a:lnTo>
                <a:lnTo>
                  <a:pt x="2769" y="2113"/>
                </a:lnTo>
                <a:lnTo>
                  <a:pt x="2768" y="2049"/>
                </a:lnTo>
                <a:close/>
                <a:moveTo>
                  <a:pt x="5328" y="2783"/>
                </a:moveTo>
                <a:lnTo>
                  <a:pt x="5378" y="2963"/>
                </a:lnTo>
                <a:lnTo>
                  <a:pt x="5617" y="2859"/>
                </a:lnTo>
                <a:lnTo>
                  <a:pt x="5626" y="2856"/>
                </a:lnTo>
                <a:lnTo>
                  <a:pt x="5634" y="2854"/>
                </a:lnTo>
                <a:lnTo>
                  <a:pt x="5644" y="2854"/>
                </a:lnTo>
                <a:lnTo>
                  <a:pt x="5653" y="2854"/>
                </a:lnTo>
                <a:lnTo>
                  <a:pt x="5663" y="2858"/>
                </a:lnTo>
                <a:lnTo>
                  <a:pt x="5673" y="2861"/>
                </a:lnTo>
                <a:lnTo>
                  <a:pt x="5681" y="2867"/>
                </a:lnTo>
                <a:lnTo>
                  <a:pt x="5689" y="2874"/>
                </a:lnTo>
                <a:lnTo>
                  <a:pt x="5834" y="3028"/>
                </a:lnTo>
                <a:lnTo>
                  <a:pt x="5926" y="3028"/>
                </a:lnTo>
                <a:lnTo>
                  <a:pt x="6009" y="2834"/>
                </a:lnTo>
                <a:lnTo>
                  <a:pt x="5929" y="2712"/>
                </a:lnTo>
                <a:lnTo>
                  <a:pt x="5807" y="2582"/>
                </a:lnTo>
                <a:lnTo>
                  <a:pt x="5644" y="2566"/>
                </a:lnTo>
                <a:lnTo>
                  <a:pt x="5572" y="2630"/>
                </a:lnTo>
                <a:lnTo>
                  <a:pt x="5564" y="2636"/>
                </a:lnTo>
                <a:lnTo>
                  <a:pt x="5328" y="2783"/>
                </a:lnTo>
                <a:close/>
                <a:moveTo>
                  <a:pt x="5221" y="2700"/>
                </a:moveTo>
                <a:lnTo>
                  <a:pt x="5491" y="2531"/>
                </a:lnTo>
                <a:lnTo>
                  <a:pt x="5579" y="2451"/>
                </a:lnTo>
                <a:lnTo>
                  <a:pt x="5588" y="2445"/>
                </a:lnTo>
                <a:lnTo>
                  <a:pt x="5601" y="2440"/>
                </a:lnTo>
                <a:lnTo>
                  <a:pt x="5614" y="2437"/>
                </a:lnTo>
                <a:lnTo>
                  <a:pt x="5628" y="2435"/>
                </a:lnTo>
                <a:lnTo>
                  <a:pt x="5842" y="2456"/>
                </a:lnTo>
                <a:lnTo>
                  <a:pt x="5856" y="2459"/>
                </a:lnTo>
                <a:lnTo>
                  <a:pt x="5866" y="2462"/>
                </a:lnTo>
                <a:lnTo>
                  <a:pt x="5873" y="2468"/>
                </a:lnTo>
                <a:lnTo>
                  <a:pt x="5883" y="2476"/>
                </a:lnTo>
                <a:lnTo>
                  <a:pt x="6025" y="2630"/>
                </a:lnTo>
                <a:lnTo>
                  <a:pt x="6031" y="2638"/>
                </a:lnTo>
                <a:lnTo>
                  <a:pt x="6133" y="2791"/>
                </a:lnTo>
                <a:lnTo>
                  <a:pt x="6141" y="2803"/>
                </a:lnTo>
                <a:lnTo>
                  <a:pt x="6143" y="2810"/>
                </a:lnTo>
                <a:lnTo>
                  <a:pt x="6145" y="2816"/>
                </a:lnTo>
                <a:lnTo>
                  <a:pt x="6146" y="2824"/>
                </a:lnTo>
                <a:lnTo>
                  <a:pt x="6145" y="2832"/>
                </a:lnTo>
                <a:lnTo>
                  <a:pt x="6143" y="2840"/>
                </a:lnTo>
                <a:lnTo>
                  <a:pt x="6140" y="2851"/>
                </a:lnTo>
                <a:lnTo>
                  <a:pt x="6028" y="3116"/>
                </a:lnTo>
                <a:lnTo>
                  <a:pt x="6023" y="3124"/>
                </a:lnTo>
                <a:lnTo>
                  <a:pt x="6019" y="3132"/>
                </a:lnTo>
                <a:lnTo>
                  <a:pt x="6014" y="3138"/>
                </a:lnTo>
                <a:lnTo>
                  <a:pt x="6007" y="3145"/>
                </a:lnTo>
                <a:lnTo>
                  <a:pt x="5999" y="3149"/>
                </a:lnTo>
                <a:lnTo>
                  <a:pt x="5990" y="3153"/>
                </a:lnTo>
                <a:lnTo>
                  <a:pt x="5980" y="3154"/>
                </a:lnTo>
                <a:lnTo>
                  <a:pt x="5969" y="3156"/>
                </a:lnTo>
                <a:lnTo>
                  <a:pt x="5805" y="3156"/>
                </a:lnTo>
                <a:lnTo>
                  <a:pt x="5794" y="3154"/>
                </a:lnTo>
                <a:lnTo>
                  <a:pt x="5783" y="3151"/>
                </a:lnTo>
                <a:lnTo>
                  <a:pt x="5770" y="3145"/>
                </a:lnTo>
                <a:lnTo>
                  <a:pt x="5759" y="3135"/>
                </a:lnTo>
                <a:lnTo>
                  <a:pt x="5626" y="2995"/>
                </a:lnTo>
                <a:lnTo>
                  <a:pt x="5362" y="3110"/>
                </a:lnTo>
                <a:lnTo>
                  <a:pt x="5354" y="3111"/>
                </a:lnTo>
                <a:lnTo>
                  <a:pt x="5347" y="3113"/>
                </a:lnTo>
                <a:lnTo>
                  <a:pt x="5333" y="3113"/>
                </a:lnTo>
                <a:lnTo>
                  <a:pt x="5319" y="3110"/>
                </a:lnTo>
                <a:lnTo>
                  <a:pt x="5306" y="3105"/>
                </a:lnTo>
                <a:lnTo>
                  <a:pt x="5295" y="3097"/>
                </a:lnTo>
                <a:lnTo>
                  <a:pt x="5287" y="3087"/>
                </a:lnTo>
                <a:lnTo>
                  <a:pt x="5279" y="3078"/>
                </a:lnTo>
                <a:lnTo>
                  <a:pt x="5274" y="3066"/>
                </a:lnTo>
                <a:lnTo>
                  <a:pt x="5193" y="2771"/>
                </a:lnTo>
                <a:lnTo>
                  <a:pt x="5191" y="2760"/>
                </a:lnTo>
                <a:lnTo>
                  <a:pt x="5191" y="2751"/>
                </a:lnTo>
                <a:lnTo>
                  <a:pt x="5193" y="2740"/>
                </a:lnTo>
                <a:lnTo>
                  <a:pt x="5194" y="2730"/>
                </a:lnTo>
                <a:lnTo>
                  <a:pt x="5199" y="2722"/>
                </a:lnTo>
                <a:lnTo>
                  <a:pt x="5205" y="2714"/>
                </a:lnTo>
                <a:lnTo>
                  <a:pt x="5212" y="2706"/>
                </a:lnTo>
                <a:lnTo>
                  <a:pt x="5221" y="2700"/>
                </a:lnTo>
                <a:close/>
                <a:moveTo>
                  <a:pt x="3563" y="903"/>
                </a:moveTo>
                <a:lnTo>
                  <a:pt x="3555" y="907"/>
                </a:lnTo>
                <a:lnTo>
                  <a:pt x="3541" y="971"/>
                </a:lnTo>
                <a:lnTo>
                  <a:pt x="3501" y="1017"/>
                </a:lnTo>
                <a:lnTo>
                  <a:pt x="3359" y="1072"/>
                </a:lnTo>
                <a:lnTo>
                  <a:pt x="3287" y="1054"/>
                </a:lnTo>
                <a:lnTo>
                  <a:pt x="3176" y="925"/>
                </a:lnTo>
                <a:lnTo>
                  <a:pt x="3184" y="834"/>
                </a:lnTo>
                <a:lnTo>
                  <a:pt x="3339" y="708"/>
                </a:lnTo>
                <a:lnTo>
                  <a:pt x="3517" y="431"/>
                </a:lnTo>
                <a:lnTo>
                  <a:pt x="3525" y="421"/>
                </a:lnTo>
                <a:lnTo>
                  <a:pt x="3533" y="413"/>
                </a:lnTo>
                <a:lnTo>
                  <a:pt x="3544" y="407"/>
                </a:lnTo>
                <a:lnTo>
                  <a:pt x="3554" y="402"/>
                </a:lnTo>
                <a:lnTo>
                  <a:pt x="3566" y="399"/>
                </a:lnTo>
                <a:lnTo>
                  <a:pt x="3579" y="400"/>
                </a:lnTo>
                <a:lnTo>
                  <a:pt x="3594" y="403"/>
                </a:lnTo>
                <a:lnTo>
                  <a:pt x="3606" y="411"/>
                </a:lnTo>
                <a:lnTo>
                  <a:pt x="3963" y="651"/>
                </a:lnTo>
                <a:lnTo>
                  <a:pt x="3975" y="659"/>
                </a:lnTo>
                <a:lnTo>
                  <a:pt x="3984" y="670"/>
                </a:lnTo>
                <a:lnTo>
                  <a:pt x="3989" y="682"/>
                </a:lnTo>
                <a:lnTo>
                  <a:pt x="3992" y="695"/>
                </a:lnTo>
                <a:lnTo>
                  <a:pt x="3992" y="708"/>
                </a:lnTo>
                <a:lnTo>
                  <a:pt x="3991" y="721"/>
                </a:lnTo>
                <a:lnTo>
                  <a:pt x="3984" y="734"/>
                </a:lnTo>
                <a:lnTo>
                  <a:pt x="3976" y="745"/>
                </a:lnTo>
                <a:lnTo>
                  <a:pt x="3960" y="764"/>
                </a:lnTo>
                <a:lnTo>
                  <a:pt x="4010" y="780"/>
                </a:lnTo>
                <a:lnTo>
                  <a:pt x="4612" y="604"/>
                </a:lnTo>
                <a:lnTo>
                  <a:pt x="4858" y="408"/>
                </a:lnTo>
                <a:lnTo>
                  <a:pt x="4866" y="403"/>
                </a:lnTo>
                <a:lnTo>
                  <a:pt x="4874" y="399"/>
                </a:lnTo>
                <a:lnTo>
                  <a:pt x="4883" y="395"/>
                </a:lnTo>
                <a:lnTo>
                  <a:pt x="4898" y="394"/>
                </a:lnTo>
                <a:lnTo>
                  <a:pt x="5336" y="394"/>
                </a:lnTo>
                <a:lnTo>
                  <a:pt x="5346" y="395"/>
                </a:lnTo>
                <a:lnTo>
                  <a:pt x="5354" y="395"/>
                </a:lnTo>
                <a:lnTo>
                  <a:pt x="5362" y="399"/>
                </a:lnTo>
                <a:lnTo>
                  <a:pt x="5368" y="402"/>
                </a:lnTo>
                <a:lnTo>
                  <a:pt x="5378" y="408"/>
                </a:lnTo>
                <a:lnTo>
                  <a:pt x="5386" y="418"/>
                </a:lnTo>
                <a:lnTo>
                  <a:pt x="5491" y="550"/>
                </a:lnTo>
                <a:lnTo>
                  <a:pt x="6044" y="588"/>
                </a:lnTo>
                <a:lnTo>
                  <a:pt x="6052" y="590"/>
                </a:lnTo>
                <a:lnTo>
                  <a:pt x="6685" y="713"/>
                </a:lnTo>
                <a:lnTo>
                  <a:pt x="6695" y="714"/>
                </a:lnTo>
                <a:lnTo>
                  <a:pt x="6703" y="718"/>
                </a:lnTo>
                <a:lnTo>
                  <a:pt x="6709" y="721"/>
                </a:lnTo>
                <a:lnTo>
                  <a:pt x="6715" y="726"/>
                </a:lnTo>
                <a:lnTo>
                  <a:pt x="6722" y="732"/>
                </a:lnTo>
                <a:lnTo>
                  <a:pt x="6725" y="737"/>
                </a:lnTo>
                <a:lnTo>
                  <a:pt x="6733" y="751"/>
                </a:lnTo>
                <a:lnTo>
                  <a:pt x="6736" y="764"/>
                </a:lnTo>
                <a:lnTo>
                  <a:pt x="6736" y="778"/>
                </a:lnTo>
                <a:lnTo>
                  <a:pt x="6734" y="793"/>
                </a:lnTo>
                <a:lnTo>
                  <a:pt x="6730" y="805"/>
                </a:lnTo>
                <a:lnTo>
                  <a:pt x="6658" y="938"/>
                </a:lnTo>
                <a:lnTo>
                  <a:pt x="6650" y="950"/>
                </a:lnTo>
                <a:lnTo>
                  <a:pt x="6647" y="955"/>
                </a:lnTo>
                <a:lnTo>
                  <a:pt x="6642" y="958"/>
                </a:lnTo>
                <a:lnTo>
                  <a:pt x="6637" y="963"/>
                </a:lnTo>
                <a:lnTo>
                  <a:pt x="6631" y="965"/>
                </a:lnTo>
                <a:lnTo>
                  <a:pt x="6612" y="970"/>
                </a:lnTo>
                <a:lnTo>
                  <a:pt x="5870" y="1091"/>
                </a:lnTo>
                <a:lnTo>
                  <a:pt x="5768" y="1158"/>
                </a:lnTo>
                <a:lnTo>
                  <a:pt x="5835" y="1368"/>
                </a:lnTo>
                <a:lnTo>
                  <a:pt x="5838" y="1378"/>
                </a:lnTo>
                <a:lnTo>
                  <a:pt x="5838" y="1389"/>
                </a:lnTo>
                <a:lnTo>
                  <a:pt x="5838" y="1398"/>
                </a:lnTo>
                <a:lnTo>
                  <a:pt x="5835" y="1408"/>
                </a:lnTo>
                <a:lnTo>
                  <a:pt x="5830" y="1419"/>
                </a:lnTo>
                <a:lnTo>
                  <a:pt x="5824" y="1427"/>
                </a:lnTo>
                <a:lnTo>
                  <a:pt x="5816" y="1437"/>
                </a:lnTo>
                <a:lnTo>
                  <a:pt x="5805" y="1443"/>
                </a:lnTo>
                <a:lnTo>
                  <a:pt x="5467" y="1627"/>
                </a:lnTo>
                <a:lnTo>
                  <a:pt x="5491" y="1797"/>
                </a:lnTo>
                <a:lnTo>
                  <a:pt x="5492" y="1807"/>
                </a:lnTo>
                <a:lnTo>
                  <a:pt x="5492" y="1816"/>
                </a:lnTo>
                <a:lnTo>
                  <a:pt x="5491" y="1824"/>
                </a:lnTo>
                <a:lnTo>
                  <a:pt x="5488" y="1834"/>
                </a:lnTo>
                <a:lnTo>
                  <a:pt x="5484" y="1842"/>
                </a:lnTo>
                <a:lnTo>
                  <a:pt x="5476" y="1848"/>
                </a:lnTo>
                <a:lnTo>
                  <a:pt x="5469" y="1856"/>
                </a:lnTo>
                <a:lnTo>
                  <a:pt x="5457" y="1863"/>
                </a:lnTo>
                <a:lnTo>
                  <a:pt x="5260" y="1965"/>
                </a:lnTo>
                <a:lnTo>
                  <a:pt x="5320" y="2083"/>
                </a:lnTo>
                <a:lnTo>
                  <a:pt x="5323" y="2089"/>
                </a:lnTo>
                <a:lnTo>
                  <a:pt x="5327" y="2097"/>
                </a:lnTo>
                <a:lnTo>
                  <a:pt x="5327" y="2105"/>
                </a:lnTo>
                <a:lnTo>
                  <a:pt x="5327" y="2113"/>
                </a:lnTo>
                <a:lnTo>
                  <a:pt x="5323" y="2129"/>
                </a:lnTo>
                <a:lnTo>
                  <a:pt x="5317" y="2143"/>
                </a:lnTo>
                <a:lnTo>
                  <a:pt x="5307" y="2156"/>
                </a:lnTo>
                <a:lnTo>
                  <a:pt x="5303" y="2162"/>
                </a:lnTo>
                <a:lnTo>
                  <a:pt x="5296" y="2167"/>
                </a:lnTo>
                <a:lnTo>
                  <a:pt x="5288" y="2170"/>
                </a:lnTo>
                <a:lnTo>
                  <a:pt x="5280" y="2173"/>
                </a:lnTo>
                <a:lnTo>
                  <a:pt x="5272" y="2175"/>
                </a:lnTo>
                <a:lnTo>
                  <a:pt x="5264" y="2175"/>
                </a:lnTo>
                <a:lnTo>
                  <a:pt x="5081" y="2175"/>
                </a:lnTo>
                <a:lnTo>
                  <a:pt x="5065" y="2175"/>
                </a:lnTo>
                <a:lnTo>
                  <a:pt x="5060" y="2175"/>
                </a:lnTo>
                <a:lnTo>
                  <a:pt x="5056" y="2173"/>
                </a:lnTo>
                <a:lnTo>
                  <a:pt x="5051" y="2170"/>
                </a:lnTo>
                <a:lnTo>
                  <a:pt x="5044" y="2167"/>
                </a:lnTo>
                <a:lnTo>
                  <a:pt x="5033" y="2153"/>
                </a:lnTo>
                <a:lnTo>
                  <a:pt x="4872" y="1968"/>
                </a:lnTo>
                <a:lnTo>
                  <a:pt x="4714" y="2054"/>
                </a:lnTo>
                <a:lnTo>
                  <a:pt x="4652" y="2234"/>
                </a:lnTo>
                <a:lnTo>
                  <a:pt x="4646" y="2248"/>
                </a:lnTo>
                <a:lnTo>
                  <a:pt x="4638" y="2260"/>
                </a:lnTo>
                <a:lnTo>
                  <a:pt x="4627" y="2269"/>
                </a:lnTo>
                <a:lnTo>
                  <a:pt x="4616" y="2276"/>
                </a:lnTo>
                <a:lnTo>
                  <a:pt x="4603" y="2279"/>
                </a:lnTo>
                <a:lnTo>
                  <a:pt x="4588" y="2279"/>
                </a:lnTo>
                <a:lnTo>
                  <a:pt x="4574" y="2276"/>
                </a:lnTo>
                <a:lnTo>
                  <a:pt x="4558" y="2268"/>
                </a:lnTo>
                <a:lnTo>
                  <a:pt x="4475" y="2217"/>
                </a:lnTo>
                <a:lnTo>
                  <a:pt x="4467" y="2210"/>
                </a:lnTo>
                <a:lnTo>
                  <a:pt x="4459" y="2205"/>
                </a:lnTo>
                <a:lnTo>
                  <a:pt x="4455" y="2199"/>
                </a:lnTo>
                <a:lnTo>
                  <a:pt x="4451" y="2194"/>
                </a:lnTo>
                <a:lnTo>
                  <a:pt x="4448" y="2188"/>
                </a:lnTo>
                <a:lnTo>
                  <a:pt x="4447" y="2181"/>
                </a:lnTo>
                <a:lnTo>
                  <a:pt x="4447" y="2165"/>
                </a:lnTo>
                <a:lnTo>
                  <a:pt x="4437" y="1918"/>
                </a:lnTo>
                <a:lnTo>
                  <a:pt x="4322" y="1867"/>
                </a:lnTo>
                <a:lnTo>
                  <a:pt x="4313" y="1939"/>
                </a:lnTo>
                <a:lnTo>
                  <a:pt x="4211" y="2011"/>
                </a:lnTo>
                <a:lnTo>
                  <a:pt x="4201" y="2016"/>
                </a:lnTo>
                <a:lnTo>
                  <a:pt x="4191" y="2020"/>
                </a:lnTo>
                <a:lnTo>
                  <a:pt x="4180" y="2022"/>
                </a:lnTo>
                <a:lnTo>
                  <a:pt x="4169" y="2022"/>
                </a:lnTo>
                <a:lnTo>
                  <a:pt x="4005" y="2012"/>
                </a:lnTo>
                <a:lnTo>
                  <a:pt x="3995" y="2011"/>
                </a:lnTo>
                <a:lnTo>
                  <a:pt x="3986" y="2008"/>
                </a:lnTo>
                <a:lnTo>
                  <a:pt x="3979" y="2004"/>
                </a:lnTo>
                <a:lnTo>
                  <a:pt x="3973" y="2001"/>
                </a:lnTo>
                <a:lnTo>
                  <a:pt x="3967" y="1996"/>
                </a:lnTo>
                <a:lnTo>
                  <a:pt x="3962" y="1992"/>
                </a:lnTo>
                <a:lnTo>
                  <a:pt x="3954" y="1981"/>
                </a:lnTo>
                <a:lnTo>
                  <a:pt x="3791" y="1695"/>
                </a:lnTo>
                <a:lnTo>
                  <a:pt x="3787" y="1687"/>
                </a:lnTo>
                <a:lnTo>
                  <a:pt x="3783" y="1679"/>
                </a:lnTo>
                <a:lnTo>
                  <a:pt x="3782" y="1671"/>
                </a:lnTo>
                <a:lnTo>
                  <a:pt x="3782" y="1663"/>
                </a:lnTo>
                <a:lnTo>
                  <a:pt x="3782" y="1655"/>
                </a:lnTo>
                <a:lnTo>
                  <a:pt x="3783" y="1647"/>
                </a:lnTo>
                <a:lnTo>
                  <a:pt x="3787" y="1639"/>
                </a:lnTo>
                <a:lnTo>
                  <a:pt x="3791" y="1631"/>
                </a:lnTo>
                <a:lnTo>
                  <a:pt x="3863" y="1504"/>
                </a:lnTo>
                <a:lnTo>
                  <a:pt x="3857" y="1386"/>
                </a:lnTo>
                <a:lnTo>
                  <a:pt x="3759" y="1362"/>
                </a:lnTo>
                <a:lnTo>
                  <a:pt x="3724" y="1494"/>
                </a:lnTo>
                <a:lnTo>
                  <a:pt x="3712" y="1520"/>
                </a:lnTo>
                <a:lnTo>
                  <a:pt x="3651" y="1590"/>
                </a:lnTo>
                <a:lnTo>
                  <a:pt x="3643" y="1598"/>
                </a:lnTo>
                <a:lnTo>
                  <a:pt x="3633" y="1604"/>
                </a:lnTo>
                <a:lnTo>
                  <a:pt x="3622" y="1609"/>
                </a:lnTo>
                <a:lnTo>
                  <a:pt x="3611" y="1612"/>
                </a:lnTo>
                <a:lnTo>
                  <a:pt x="3600" y="1612"/>
                </a:lnTo>
                <a:lnTo>
                  <a:pt x="3589" y="1611"/>
                </a:lnTo>
                <a:lnTo>
                  <a:pt x="3578" y="1607"/>
                </a:lnTo>
                <a:lnTo>
                  <a:pt x="3568" y="1601"/>
                </a:lnTo>
                <a:lnTo>
                  <a:pt x="3417" y="1501"/>
                </a:lnTo>
                <a:lnTo>
                  <a:pt x="3391" y="1590"/>
                </a:lnTo>
                <a:lnTo>
                  <a:pt x="3303" y="1548"/>
                </a:lnTo>
                <a:lnTo>
                  <a:pt x="3318" y="1481"/>
                </a:lnTo>
                <a:lnTo>
                  <a:pt x="3270" y="1481"/>
                </a:lnTo>
                <a:lnTo>
                  <a:pt x="3176" y="1633"/>
                </a:lnTo>
                <a:lnTo>
                  <a:pt x="3168" y="1646"/>
                </a:lnTo>
                <a:lnTo>
                  <a:pt x="3158" y="1652"/>
                </a:lnTo>
                <a:lnTo>
                  <a:pt x="3150" y="1657"/>
                </a:lnTo>
                <a:lnTo>
                  <a:pt x="3139" y="1662"/>
                </a:lnTo>
                <a:lnTo>
                  <a:pt x="2938" y="1721"/>
                </a:lnTo>
                <a:lnTo>
                  <a:pt x="2927" y="1722"/>
                </a:lnTo>
                <a:lnTo>
                  <a:pt x="2914" y="1722"/>
                </a:lnTo>
                <a:lnTo>
                  <a:pt x="2902" y="1719"/>
                </a:lnTo>
                <a:lnTo>
                  <a:pt x="2891" y="1714"/>
                </a:lnTo>
                <a:lnTo>
                  <a:pt x="2879" y="1706"/>
                </a:lnTo>
                <a:lnTo>
                  <a:pt x="2870" y="1697"/>
                </a:lnTo>
                <a:lnTo>
                  <a:pt x="2863" y="1686"/>
                </a:lnTo>
                <a:lnTo>
                  <a:pt x="2859" y="1673"/>
                </a:lnTo>
                <a:lnTo>
                  <a:pt x="2808" y="1426"/>
                </a:lnTo>
                <a:lnTo>
                  <a:pt x="2806" y="1413"/>
                </a:lnTo>
                <a:lnTo>
                  <a:pt x="2809" y="1400"/>
                </a:lnTo>
                <a:lnTo>
                  <a:pt x="2814" y="1387"/>
                </a:lnTo>
                <a:lnTo>
                  <a:pt x="2820" y="1376"/>
                </a:lnTo>
                <a:lnTo>
                  <a:pt x="2830" y="1367"/>
                </a:lnTo>
                <a:lnTo>
                  <a:pt x="2841" y="1359"/>
                </a:lnTo>
                <a:lnTo>
                  <a:pt x="2852" y="1352"/>
                </a:lnTo>
                <a:lnTo>
                  <a:pt x="2865" y="1349"/>
                </a:lnTo>
                <a:lnTo>
                  <a:pt x="3018" y="1338"/>
                </a:lnTo>
                <a:lnTo>
                  <a:pt x="3018" y="1244"/>
                </a:lnTo>
                <a:lnTo>
                  <a:pt x="3059" y="1185"/>
                </a:lnTo>
                <a:lnTo>
                  <a:pt x="3284" y="1102"/>
                </a:lnTo>
                <a:lnTo>
                  <a:pt x="3299" y="1099"/>
                </a:lnTo>
                <a:lnTo>
                  <a:pt x="3488" y="1080"/>
                </a:lnTo>
                <a:lnTo>
                  <a:pt x="3560" y="1013"/>
                </a:lnTo>
                <a:lnTo>
                  <a:pt x="3563" y="903"/>
                </a:lnTo>
                <a:close/>
                <a:moveTo>
                  <a:pt x="3426" y="1355"/>
                </a:moveTo>
                <a:lnTo>
                  <a:pt x="3592" y="1464"/>
                </a:lnTo>
                <a:lnTo>
                  <a:pt x="3605" y="1448"/>
                </a:lnTo>
                <a:lnTo>
                  <a:pt x="3653" y="1269"/>
                </a:lnTo>
                <a:lnTo>
                  <a:pt x="3656" y="1258"/>
                </a:lnTo>
                <a:lnTo>
                  <a:pt x="3662" y="1249"/>
                </a:lnTo>
                <a:lnTo>
                  <a:pt x="3670" y="1239"/>
                </a:lnTo>
                <a:lnTo>
                  <a:pt x="3680" y="1233"/>
                </a:lnTo>
                <a:lnTo>
                  <a:pt x="3691" y="1226"/>
                </a:lnTo>
                <a:lnTo>
                  <a:pt x="3704" y="1223"/>
                </a:lnTo>
                <a:lnTo>
                  <a:pt x="3716" y="1221"/>
                </a:lnTo>
                <a:lnTo>
                  <a:pt x="3729" y="1223"/>
                </a:lnTo>
                <a:lnTo>
                  <a:pt x="3933" y="1274"/>
                </a:lnTo>
                <a:lnTo>
                  <a:pt x="3944" y="1277"/>
                </a:lnTo>
                <a:lnTo>
                  <a:pt x="3954" y="1282"/>
                </a:lnTo>
                <a:lnTo>
                  <a:pt x="3962" y="1288"/>
                </a:lnTo>
                <a:lnTo>
                  <a:pt x="3968" y="1296"/>
                </a:lnTo>
                <a:lnTo>
                  <a:pt x="3975" y="1304"/>
                </a:lnTo>
                <a:lnTo>
                  <a:pt x="3978" y="1312"/>
                </a:lnTo>
                <a:lnTo>
                  <a:pt x="3981" y="1322"/>
                </a:lnTo>
                <a:lnTo>
                  <a:pt x="3981" y="1333"/>
                </a:lnTo>
                <a:lnTo>
                  <a:pt x="3992" y="1516"/>
                </a:lnTo>
                <a:lnTo>
                  <a:pt x="3984" y="1552"/>
                </a:lnTo>
                <a:lnTo>
                  <a:pt x="3920" y="1663"/>
                </a:lnTo>
                <a:lnTo>
                  <a:pt x="4048" y="1886"/>
                </a:lnTo>
                <a:lnTo>
                  <a:pt x="4155" y="1893"/>
                </a:lnTo>
                <a:lnTo>
                  <a:pt x="4182" y="1874"/>
                </a:lnTo>
                <a:lnTo>
                  <a:pt x="4083" y="1754"/>
                </a:lnTo>
                <a:lnTo>
                  <a:pt x="4078" y="1748"/>
                </a:lnTo>
                <a:lnTo>
                  <a:pt x="4077" y="1740"/>
                </a:lnTo>
                <a:lnTo>
                  <a:pt x="4075" y="1730"/>
                </a:lnTo>
                <a:lnTo>
                  <a:pt x="4077" y="1722"/>
                </a:lnTo>
                <a:lnTo>
                  <a:pt x="4080" y="1713"/>
                </a:lnTo>
                <a:lnTo>
                  <a:pt x="4083" y="1703"/>
                </a:lnTo>
                <a:lnTo>
                  <a:pt x="4088" y="1693"/>
                </a:lnTo>
                <a:lnTo>
                  <a:pt x="4094" y="1684"/>
                </a:lnTo>
                <a:lnTo>
                  <a:pt x="4101" y="1676"/>
                </a:lnTo>
                <a:lnTo>
                  <a:pt x="4109" y="1670"/>
                </a:lnTo>
                <a:lnTo>
                  <a:pt x="4117" y="1663"/>
                </a:lnTo>
                <a:lnTo>
                  <a:pt x="4125" y="1658"/>
                </a:lnTo>
                <a:lnTo>
                  <a:pt x="4132" y="1655"/>
                </a:lnTo>
                <a:lnTo>
                  <a:pt x="4142" y="1654"/>
                </a:lnTo>
                <a:lnTo>
                  <a:pt x="4150" y="1654"/>
                </a:lnTo>
                <a:lnTo>
                  <a:pt x="4158" y="1655"/>
                </a:lnTo>
                <a:lnTo>
                  <a:pt x="4525" y="1818"/>
                </a:lnTo>
                <a:lnTo>
                  <a:pt x="4536" y="1824"/>
                </a:lnTo>
                <a:lnTo>
                  <a:pt x="4544" y="1829"/>
                </a:lnTo>
                <a:lnTo>
                  <a:pt x="4550" y="1835"/>
                </a:lnTo>
                <a:lnTo>
                  <a:pt x="4555" y="1843"/>
                </a:lnTo>
                <a:lnTo>
                  <a:pt x="4558" y="1850"/>
                </a:lnTo>
                <a:lnTo>
                  <a:pt x="4561" y="1858"/>
                </a:lnTo>
                <a:lnTo>
                  <a:pt x="4563" y="1874"/>
                </a:lnTo>
                <a:lnTo>
                  <a:pt x="4571" y="2081"/>
                </a:lnTo>
                <a:lnTo>
                  <a:pt x="4603" y="1988"/>
                </a:lnTo>
                <a:lnTo>
                  <a:pt x="4608" y="1977"/>
                </a:lnTo>
                <a:lnTo>
                  <a:pt x="4614" y="1968"/>
                </a:lnTo>
                <a:lnTo>
                  <a:pt x="4620" y="1960"/>
                </a:lnTo>
                <a:lnTo>
                  <a:pt x="4631" y="1953"/>
                </a:lnTo>
                <a:lnTo>
                  <a:pt x="4856" y="1831"/>
                </a:lnTo>
                <a:lnTo>
                  <a:pt x="4869" y="1826"/>
                </a:lnTo>
                <a:lnTo>
                  <a:pt x="4880" y="1823"/>
                </a:lnTo>
                <a:lnTo>
                  <a:pt x="4891" y="1823"/>
                </a:lnTo>
                <a:lnTo>
                  <a:pt x="4901" y="1824"/>
                </a:lnTo>
                <a:lnTo>
                  <a:pt x="4912" y="1827"/>
                </a:lnTo>
                <a:lnTo>
                  <a:pt x="4920" y="1832"/>
                </a:lnTo>
                <a:lnTo>
                  <a:pt x="4928" y="1839"/>
                </a:lnTo>
                <a:lnTo>
                  <a:pt x="4936" y="1845"/>
                </a:lnTo>
                <a:lnTo>
                  <a:pt x="5110" y="2047"/>
                </a:lnTo>
                <a:lnTo>
                  <a:pt x="5159" y="2047"/>
                </a:lnTo>
                <a:lnTo>
                  <a:pt x="5116" y="1968"/>
                </a:lnTo>
                <a:lnTo>
                  <a:pt x="5110" y="1952"/>
                </a:lnTo>
                <a:lnTo>
                  <a:pt x="5108" y="1939"/>
                </a:lnTo>
                <a:lnTo>
                  <a:pt x="5108" y="1926"/>
                </a:lnTo>
                <a:lnTo>
                  <a:pt x="5111" y="1914"/>
                </a:lnTo>
                <a:lnTo>
                  <a:pt x="5118" y="1904"/>
                </a:lnTo>
                <a:lnTo>
                  <a:pt x="5126" y="1894"/>
                </a:lnTo>
                <a:lnTo>
                  <a:pt x="5134" y="1886"/>
                </a:lnTo>
                <a:lnTo>
                  <a:pt x="5143" y="1882"/>
                </a:lnTo>
                <a:lnTo>
                  <a:pt x="5359" y="1770"/>
                </a:lnTo>
                <a:lnTo>
                  <a:pt x="5335" y="1599"/>
                </a:lnTo>
                <a:lnTo>
                  <a:pt x="5333" y="1591"/>
                </a:lnTo>
                <a:lnTo>
                  <a:pt x="5335" y="1582"/>
                </a:lnTo>
                <a:lnTo>
                  <a:pt x="5336" y="1572"/>
                </a:lnTo>
                <a:lnTo>
                  <a:pt x="5339" y="1564"/>
                </a:lnTo>
                <a:lnTo>
                  <a:pt x="5344" y="1556"/>
                </a:lnTo>
                <a:lnTo>
                  <a:pt x="5351" y="1548"/>
                </a:lnTo>
                <a:lnTo>
                  <a:pt x="5359" y="1540"/>
                </a:lnTo>
                <a:lnTo>
                  <a:pt x="5366" y="1536"/>
                </a:lnTo>
                <a:lnTo>
                  <a:pt x="5698" y="1355"/>
                </a:lnTo>
                <a:lnTo>
                  <a:pt x="5633" y="1151"/>
                </a:lnTo>
                <a:lnTo>
                  <a:pt x="5630" y="1142"/>
                </a:lnTo>
                <a:lnTo>
                  <a:pt x="5630" y="1132"/>
                </a:lnTo>
                <a:lnTo>
                  <a:pt x="5630" y="1123"/>
                </a:lnTo>
                <a:lnTo>
                  <a:pt x="5631" y="1113"/>
                </a:lnTo>
                <a:lnTo>
                  <a:pt x="5634" y="1103"/>
                </a:lnTo>
                <a:lnTo>
                  <a:pt x="5641" y="1096"/>
                </a:lnTo>
                <a:lnTo>
                  <a:pt x="5649" y="1086"/>
                </a:lnTo>
                <a:lnTo>
                  <a:pt x="5658" y="1080"/>
                </a:lnTo>
                <a:lnTo>
                  <a:pt x="5811" y="978"/>
                </a:lnTo>
                <a:lnTo>
                  <a:pt x="5837" y="966"/>
                </a:lnTo>
                <a:lnTo>
                  <a:pt x="6561" y="848"/>
                </a:lnTo>
                <a:lnTo>
                  <a:pt x="6569" y="847"/>
                </a:lnTo>
                <a:lnTo>
                  <a:pt x="6575" y="844"/>
                </a:lnTo>
                <a:lnTo>
                  <a:pt x="6580" y="839"/>
                </a:lnTo>
                <a:lnTo>
                  <a:pt x="6583" y="834"/>
                </a:lnTo>
                <a:lnTo>
                  <a:pt x="6585" y="831"/>
                </a:lnTo>
                <a:lnTo>
                  <a:pt x="6583" y="826"/>
                </a:lnTo>
                <a:lnTo>
                  <a:pt x="6581" y="823"/>
                </a:lnTo>
                <a:lnTo>
                  <a:pt x="6575" y="821"/>
                </a:lnTo>
                <a:lnTo>
                  <a:pt x="6031" y="716"/>
                </a:lnTo>
                <a:lnTo>
                  <a:pt x="5454" y="675"/>
                </a:lnTo>
                <a:lnTo>
                  <a:pt x="5441" y="673"/>
                </a:lnTo>
                <a:lnTo>
                  <a:pt x="5430" y="670"/>
                </a:lnTo>
                <a:lnTo>
                  <a:pt x="5421" y="663"/>
                </a:lnTo>
                <a:lnTo>
                  <a:pt x="5410" y="651"/>
                </a:lnTo>
                <a:lnTo>
                  <a:pt x="5306" y="521"/>
                </a:lnTo>
                <a:lnTo>
                  <a:pt x="4920" y="521"/>
                </a:lnTo>
                <a:lnTo>
                  <a:pt x="4683" y="713"/>
                </a:lnTo>
                <a:lnTo>
                  <a:pt x="4660" y="724"/>
                </a:lnTo>
                <a:lnTo>
                  <a:pt x="4027" y="907"/>
                </a:lnTo>
                <a:lnTo>
                  <a:pt x="4019" y="911"/>
                </a:lnTo>
                <a:lnTo>
                  <a:pt x="4011" y="911"/>
                </a:lnTo>
                <a:lnTo>
                  <a:pt x="4002" y="911"/>
                </a:lnTo>
                <a:lnTo>
                  <a:pt x="3991" y="907"/>
                </a:lnTo>
                <a:lnTo>
                  <a:pt x="3828" y="856"/>
                </a:lnTo>
                <a:lnTo>
                  <a:pt x="3818" y="853"/>
                </a:lnTo>
                <a:lnTo>
                  <a:pt x="3810" y="848"/>
                </a:lnTo>
                <a:lnTo>
                  <a:pt x="3804" y="844"/>
                </a:lnTo>
                <a:lnTo>
                  <a:pt x="3798" y="839"/>
                </a:lnTo>
                <a:lnTo>
                  <a:pt x="3793" y="832"/>
                </a:lnTo>
                <a:lnTo>
                  <a:pt x="3788" y="824"/>
                </a:lnTo>
                <a:lnTo>
                  <a:pt x="3785" y="818"/>
                </a:lnTo>
                <a:lnTo>
                  <a:pt x="3783" y="810"/>
                </a:lnTo>
                <a:lnTo>
                  <a:pt x="3782" y="796"/>
                </a:lnTo>
                <a:lnTo>
                  <a:pt x="3783" y="780"/>
                </a:lnTo>
                <a:lnTo>
                  <a:pt x="3790" y="765"/>
                </a:lnTo>
                <a:lnTo>
                  <a:pt x="3794" y="759"/>
                </a:lnTo>
                <a:lnTo>
                  <a:pt x="3799" y="753"/>
                </a:lnTo>
                <a:lnTo>
                  <a:pt x="3833" y="716"/>
                </a:lnTo>
                <a:lnTo>
                  <a:pt x="3590" y="553"/>
                </a:lnTo>
                <a:lnTo>
                  <a:pt x="3441" y="785"/>
                </a:lnTo>
                <a:lnTo>
                  <a:pt x="3428" y="800"/>
                </a:lnTo>
                <a:lnTo>
                  <a:pt x="3315" y="891"/>
                </a:lnTo>
                <a:lnTo>
                  <a:pt x="3354" y="936"/>
                </a:lnTo>
                <a:lnTo>
                  <a:pt x="3425" y="911"/>
                </a:lnTo>
                <a:lnTo>
                  <a:pt x="3437" y="852"/>
                </a:lnTo>
                <a:lnTo>
                  <a:pt x="3442" y="839"/>
                </a:lnTo>
                <a:lnTo>
                  <a:pt x="3447" y="828"/>
                </a:lnTo>
                <a:lnTo>
                  <a:pt x="3456" y="820"/>
                </a:lnTo>
                <a:lnTo>
                  <a:pt x="3466" y="812"/>
                </a:lnTo>
                <a:lnTo>
                  <a:pt x="3619" y="719"/>
                </a:lnTo>
                <a:lnTo>
                  <a:pt x="3627" y="716"/>
                </a:lnTo>
                <a:lnTo>
                  <a:pt x="3635" y="714"/>
                </a:lnTo>
                <a:lnTo>
                  <a:pt x="3643" y="714"/>
                </a:lnTo>
                <a:lnTo>
                  <a:pt x="3653" y="716"/>
                </a:lnTo>
                <a:lnTo>
                  <a:pt x="3661" y="718"/>
                </a:lnTo>
                <a:lnTo>
                  <a:pt x="3669" y="721"/>
                </a:lnTo>
                <a:lnTo>
                  <a:pt x="3678" y="726"/>
                </a:lnTo>
                <a:lnTo>
                  <a:pt x="3686" y="730"/>
                </a:lnTo>
                <a:lnTo>
                  <a:pt x="3692" y="737"/>
                </a:lnTo>
                <a:lnTo>
                  <a:pt x="3699" y="743"/>
                </a:lnTo>
                <a:lnTo>
                  <a:pt x="3705" y="751"/>
                </a:lnTo>
                <a:lnTo>
                  <a:pt x="3710" y="757"/>
                </a:lnTo>
                <a:lnTo>
                  <a:pt x="3713" y="765"/>
                </a:lnTo>
                <a:lnTo>
                  <a:pt x="3715" y="773"/>
                </a:lnTo>
                <a:lnTo>
                  <a:pt x="3716" y="781"/>
                </a:lnTo>
                <a:lnTo>
                  <a:pt x="3715" y="789"/>
                </a:lnTo>
                <a:lnTo>
                  <a:pt x="3691" y="885"/>
                </a:lnTo>
                <a:lnTo>
                  <a:pt x="3686" y="1043"/>
                </a:lnTo>
                <a:lnTo>
                  <a:pt x="3684" y="1056"/>
                </a:lnTo>
                <a:lnTo>
                  <a:pt x="3681" y="1065"/>
                </a:lnTo>
                <a:lnTo>
                  <a:pt x="3675" y="1076"/>
                </a:lnTo>
                <a:lnTo>
                  <a:pt x="3667" y="1086"/>
                </a:lnTo>
                <a:lnTo>
                  <a:pt x="3562" y="1186"/>
                </a:lnTo>
                <a:lnTo>
                  <a:pt x="3551" y="1196"/>
                </a:lnTo>
                <a:lnTo>
                  <a:pt x="3544" y="1201"/>
                </a:lnTo>
                <a:lnTo>
                  <a:pt x="3538" y="1202"/>
                </a:lnTo>
                <a:lnTo>
                  <a:pt x="3523" y="1204"/>
                </a:lnTo>
                <a:lnTo>
                  <a:pt x="3321" y="1225"/>
                </a:lnTo>
                <a:lnTo>
                  <a:pt x="3146" y="1288"/>
                </a:lnTo>
                <a:lnTo>
                  <a:pt x="3146" y="1397"/>
                </a:lnTo>
                <a:lnTo>
                  <a:pt x="3087" y="1461"/>
                </a:lnTo>
                <a:lnTo>
                  <a:pt x="2946" y="1472"/>
                </a:lnTo>
                <a:lnTo>
                  <a:pt x="2969" y="1579"/>
                </a:lnTo>
                <a:lnTo>
                  <a:pt x="3080" y="1545"/>
                </a:lnTo>
                <a:lnTo>
                  <a:pt x="3179" y="1384"/>
                </a:lnTo>
                <a:lnTo>
                  <a:pt x="3185" y="1376"/>
                </a:lnTo>
                <a:lnTo>
                  <a:pt x="3190" y="1370"/>
                </a:lnTo>
                <a:lnTo>
                  <a:pt x="3197" y="1365"/>
                </a:lnTo>
                <a:lnTo>
                  <a:pt x="3205" y="1360"/>
                </a:lnTo>
                <a:lnTo>
                  <a:pt x="3211" y="1357"/>
                </a:lnTo>
                <a:lnTo>
                  <a:pt x="3219" y="1355"/>
                </a:lnTo>
                <a:lnTo>
                  <a:pt x="3235" y="1354"/>
                </a:lnTo>
                <a:lnTo>
                  <a:pt x="3426" y="1355"/>
                </a:lnTo>
                <a:close/>
              </a:path>
            </a:pathLst>
          </a:custGeom>
          <a:solidFill>
            <a:schemeClr val="bg1"/>
          </a:solidFill>
          <a:ln w="9525">
            <a:noFill/>
            <a:round/>
            <a:headEnd/>
            <a:tailEnd/>
          </a:ln>
        </p:spPr>
        <p:txBody>
          <a:bodyPr/>
          <a:lstStyle/>
          <a:p>
            <a:pPr algn="ctr" eaLnBrk="0" fontAlgn="base" hangingPunct="0">
              <a:spcBef>
                <a:spcPct val="50000"/>
              </a:spcBef>
              <a:spcAft>
                <a:spcPct val="0"/>
              </a:spcAft>
            </a:pPr>
            <a:endParaRPr lang="en-US" sz="1088" dirty="0">
              <a:solidFill>
                <a:srgbClr val="000000"/>
              </a:solidFill>
            </a:endParaRPr>
          </a:p>
        </p:txBody>
      </p:sp>
      <p:sp>
        <p:nvSpPr>
          <p:cNvPr id="8" name="Rectangle 7"/>
          <p:cNvSpPr/>
          <p:nvPr/>
        </p:nvSpPr>
        <p:spPr>
          <a:xfrm>
            <a:off x="4543144" y="2056493"/>
            <a:ext cx="2114893" cy="453050"/>
          </a:xfrm>
          <a:prstGeom prst="rect">
            <a:avLst/>
          </a:prstGeom>
        </p:spPr>
        <p:txBody>
          <a:bodyPr wrap="square" lIns="82909" tIns="41454" rIns="82909" bIns="41454" anchor="ctr">
            <a:spAutoFit/>
          </a:bodyPr>
          <a:lstStyle/>
          <a:p>
            <a:pPr marL="0" lvl="1" algn="just" defTabSz="945204" eaLnBrk="0" fontAlgn="base" hangingPunct="0">
              <a:spcBef>
                <a:spcPct val="0"/>
              </a:spcBef>
              <a:spcAft>
                <a:spcPct val="0"/>
              </a:spcAft>
              <a:buClr>
                <a:srgbClr val="FFE600"/>
              </a:buClr>
              <a:buSzPct val="80000"/>
            </a:pPr>
            <a:r>
              <a:rPr lang="en-US" sz="1200" b="1" dirty="0">
                <a:solidFill>
                  <a:srgbClr val="FFE600"/>
                </a:solidFill>
                <a:cs typeface="Arial"/>
              </a:rPr>
              <a:t>150+</a:t>
            </a:r>
            <a:endParaRPr lang="en-US" sz="1200" dirty="0">
              <a:solidFill>
                <a:srgbClr val="FFE600"/>
              </a:solidFill>
              <a:cs typeface="Arial"/>
            </a:endParaRPr>
          </a:p>
          <a:p>
            <a:pPr marL="0" lvl="1" algn="just" defTabSz="945204" eaLnBrk="0" fontAlgn="base" hangingPunct="0">
              <a:spcBef>
                <a:spcPct val="0"/>
              </a:spcBef>
              <a:spcAft>
                <a:spcPct val="0"/>
              </a:spcAft>
              <a:buClr>
                <a:srgbClr val="FFE600"/>
              </a:buClr>
              <a:buSzPct val="80000"/>
            </a:pPr>
            <a:r>
              <a:rPr lang="en-US" sz="1200" kern="0" dirty="0" err="1">
                <a:solidFill>
                  <a:schemeClr val="bg1"/>
                </a:solidFill>
                <a:cs typeface="Arial"/>
              </a:rPr>
              <a:t>Länder</a:t>
            </a:r>
            <a:endParaRPr lang="en-US" sz="1200" kern="0" dirty="0">
              <a:solidFill>
                <a:schemeClr val="bg1"/>
              </a:solidFill>
              <a:cs typeface="Arial"/>
            </a:endParaRPr>
          </a:p>
        </p:txBody>
      </p:sp>
      <p:grpSp>
        <p:nvGrpSpPr>
          <p:cNvPr id="9" name="Gruppieren 40"/>
          <p:cNvGrpSpPr>
            <a:grpSpLocks noChangeAspect="1"/>
          </p:cNvGrpSpPr>
          <p:nvPr/>
        </p:nvGrpSpPr>
        <p:grpSpPr bwMode="gray">
          <a:xfrm>
            <a:off x="3951074" y="2690391"/>
            <a:ext cx="437323" cy="417437"/>
            <a:chOff x="5922764" y="4932759"/>
            <a:chExt cx="848263" cy="764053"/>
          </a:xfrm>
        </p:grpSpPr>
        <p:sp>
          <p:nvSpPr>
            <p:cNvPr id="10" name="Freeform 63"/>
            <p:cNvSpPr>
              <a:spLocks noChangeAspect="1" noEditPoints="1"/>
            </p:cNvSpPr>
            <p:nvPr/>
          </p:nvSpPr>
          <p:spPr bwMode="gray">
            <a:xfrm>
              <a:off x="6472721" y="5337664"/>
              <a:ext cx="113415" cy="359148"/>
            </a:xfrm>
            <a:custGeom>
              <a:avLst/>
              <a:gdLst>
                <a:gd name="T0" fmla="*/ 2147483647 w 1510"/>
                <a:gd name="T1" fmla="*/ 2147483647 h 4763"/>
                <a:gd name="T2" fmla="*/ 2147483647 w 1510"/>
                <a:gd name="T3" fmla="*/ 2147483647 h 4763"/>
                <a:gd name="T4" fmla="*/ 2147483647 w 1510"/>
                <a:gd name="T5" fmla="*/ 2147483647 h 4763"/>
                <a:gd name="T6" fmla="*/ 2147483647 w 1510"/>
                <a:gd name="T7" fmla="*/ 2147483647 h 4763"/>
                <a:gd name="T8" fmla="*/ 2147483647 w 1510"/>
                <a:gd name="T9" fmla="*/ 2147483647 h 4763"/>
                <a:gd name="T10" fmla="*/ 2147483647 w 1510"/>
                <a:gd name="T11" fmla="*/ 2147483647 h 4763"/>
                <a:gd name="T12" fmla="*/ 2147483647 w 1510"/>
                <a:gd name="T13" fmla="*/ 2147483647 h 4763"/>
                <a:gd name="T14" fmla="*/ 2147483647 w 1510"/>
                <a:gd name="T15" fmla="*/ 2147483647 h 4763"/>
                <a:gd name="T16" fmla="*/ 2147483647 w 1510"/>
                <a:gd name="T17" fmla="*/ 2147483647 h 4763"/>
                <a:gd name="T18" fmla="*/ 2147483647 w 1510"/>
                <a:gd name="T19" fmla="*/ 2147483647 h 4763"/>
                <a:gd name="T20" fmla="*/ 2147483647 w 1510"/>
                <a:gd name="T21" fmla="*/ 2147483647 h 4763"/>
                <a:gd name="T22" fmla="*/ 2147483647 w 1510"/>
                <a:gd name="T23" fmla="*/ 2147483647 h 4763"/>
                <a:gd name="T24" fmla="*/ 2147483647 w 1510"/>
                <a:gd name="T25" fmla="*/ 2147483647 h 4763"/>
                <a:gd name="T26" fmla="*/ 2147483647 w 1510"/>
                <a:gd name="T27" fmla="*/ 2147483647 h 4763"/>
                <a:gd name="T28" fmla="*/ 2147483647 w 1510"/>
                <a:gd name="T29" fmla="*/ 2147483647 h 4763"/>
                <a:gd name="T30" fmla="*/ 2147483647 w 1510"/>
                <a:gd name="T31" fmla="*/ 2147483647 h 4763"/>
                <a:gd name="T32" fmla="*/ 2147483647 w 1510"/>
                <a:gd name="T33" fmla="*/ 2147483647 h 4763"/>
                <a:gd name="T34" fmla="*/ 2147483647 w 1510"/>
                <a:gd name="T35" fmla="*/ 2147483647 h 4763"/>
                <a:gd name="T36" fmla="*/ 2147483647 w 1510"/>
                <a:gd name="T37" fmla="*/ 2147483647 h 4763"/>
                <a:gd name="T38" fmla="*/ 2147483647 w 1510"/>
                <a:gd name="T39" fmla="*/ 2147483647 h 4763"/>
                <a:gd name="T40" fmla="*/ 2147483647 w 1510"/>
                <a:gd name="T41" fmla="*/ 2147483647 h 4763"/>
                <a:gd name="T42" fmla="*/ 2147483647 w 1510"/>
                <a:gd name="T43" fmla="*/ 2147483647 h 4763"/>
                <a:gd name="T44" fmla="*/ 2147483647 w 1510"/>
                <a:gd name="T45" fmla="*/ 2147483647 h 4763"/>
                <a:gd name="T46" fmla="*/ 2147483647 w 1510"/>
                <a:gd name="T47" fmla="*/ 2147483647 h 4763"/>
                <a:gd name="T48" fmla="*/ 2147483647 w 1510"/>
                <a:gd name="T49" fmla="*/ 2147483647 h 4763"/>
                <a:gd name="T50" fmla="*/ 2147483647 w 1510"/>
                <a:gd name="T51" fmla="*/ 2147483647 h 4763"/>
                <a:gd name="T52" fmla="*/ 2147483647 w 1510"/>
                <a:gd name="T53" fmla="*/ 2147483647 h 4763"/>
                <a:gd name="T54" fmla="*/ 2147483647 w 1510"/>
                <a:gd name="T55" fmla="*/ 2147483647 h 4763"/>
                <a:gd name="T56" fmla="*/ 2147483647 w 1510"/>
                <a:gd name="T57" fmla="*/ 2147483647 h 4763"/>
                <a:gd name="T58" fmla="*/ 2147483647 w 1510"/>
                <a:gd name="T59" fmla="*/ 2147483647 h 4763"/>
                <a:gd name="T60" fmla="*/ 2147483647 w 1510"/>
                <a:gd name="T61" fmla="*/ 2147483647 h 4763"/>
                <a:gd name="T62" fmla="*/ 2147483647 w 1510"/>
                <a:gd name="T63" fmla="*/ 2147483647 h 4763"/>
                <a:gd name="T64" fmla="*/ 2147483647 w 1510"/>
                <a:gd name="T65" fmla="*/ 2147483647 h 4763"/>
                <a:gd name="T66" fmla="*/ 2147483647 w 1510"/>
                <a:gd name="T67" fmla="*/ 2147483647 h 4763"/>
                <a:gd name="T68" fmla="*/ 2147483647 w 1510"/>
                <a:gd name="T69" fmla="*/ 2147483647 h 4763"/>
                <a:gd name="T70" fmla="*/ 2147483647 w 1510"/>
                <a:gd name="T71" fmla="*/ 2147483647 h 4763"/>
                <a:gd name="T72" fmla="*/ 2147483647 w 1510"/>
                <a:gd name="T73" fmla="*/ 2147483647 h 4763"/>
                <a:gd name="T74" fmla="*/ 2147483647 w 1510"/>
                <a:gd name="T75" fmla="*/ 2147483647 h 4763"/>
                <a:gd name="T76" fmla="*/ 2147483647 w 1510"/>
                <a:gd name="T77" fmla="*/ 2147483647 h 4763"/>
                <a:gd name="T78" fmla="*/ 2147483647 w 1510"/>
                <a:gd name="T79" fmla="*/ 2147483647 h 4763"/>
                <a:gd name="T80" fmla="*/ 2147483647 w 1510"/>
                <a:gd name="T81" fmla="*/ 2147483647 h 4763"/>
                <a:gd name="T82" fmla="*/ 2147483647 w 1510"/>
                <a:gd name="T83" fmla="*/ 2147483647 h 4763"/>
                <a:gd name="T84" fmla="*/ 2147483647 w 1510"/>
                <a:gd name="T85" fmla="*/ 2147483647 h 4763"/>
                <a:gd name="T86" fmla="*/ 2147483647 w 1510"/>
                <a:gd name="T87" fmla="*/ 2147483647 h 4763"/>
                <a:gd name="T88" fmla="*/ 2147483647 w 1510"/>
                <a:gd name="T89" fmla="*/ 2147483647 h 4763"/>
                <a:gd name="T90" fmla="*/ 2147483647 w 1510"/>
                <a:gd name="T91" fmla="*/ 2147483647 h 4763"/>
                <a:gd name="T92" fmla="*/ 2147483647 w 1510"/>
                <a:gd name="T93" fmla="*/ 2147483647 h 4763"/>
                <a:gd name="T94" fmla="*/ 2147483647 w 1510"/>
                <a:gd name="T95" fmla="*/ 2147483647 h 4763"/>
                <a:gd name="T96" fmla="*/ 2147483647 w 1510"/>
                <a:gd name="T97" fmla="*/ 2147483647 h 4763"/>
                <a:gd name="T98" fmla="*/ 2147483647 w 1510"/>
                <a:gd name="T99" fmla="*/ 2147483647 h 4763"/>
                <a:gd name="T100" fmla="*/ 2147483647 w 1510"/>
                <a:gd name="T101" fmla="*/ 2147483647 h 4763"/>
                <a:gd name="T102" fmla="*/ 2147483647 w 1510"/>
                <a:gd name="T103" fmla="*/ 2147483647 h 4763"/>
                <a:gd name="T104" fmla="*/ 2147483647 w 1510"/>
                <a:gd name="T105" fmla="*/ 2147483647 h 4763"/>
                <a:gd name="T106" fmla="*/ 2147483647 w 1510"/>
                <a:gd name="T107" fmla="*/ 2147483647 h 4763"/>
                <a:gd name="T108" fmla="*/ 2147483647 w 1510"/>
                <a:gd name="T109" fmla="*/ 2147483647 h 4763"/>
                <a:gd name="T110" fmla="*/ 2147483647 w 1510"/>
                <a:gd name="T111" fmla="*/ 2147483647 h 4763"/>
                <a:gd name="T112" fmla="*/ 2147483647 w 1510"/>
                <a:gd name="T113" fmla="*/ 2147483647 h 4763"/>
                <a:gd name="T114" fmla="*/ 2147483647 w 1510"/>
                <a:gd name="T115" fmla="*/ 2147483647 h 4763"/>
                <a:gd name="T116" fmla="*/ 2147483647 w 1510"/>
                <a:gd name="T117" fmla="*/ 2147483647 h 4763"/>
                <a:gd name="T118" fmla="*/ 2147483647 w 1510"/>
                <a:gd name="T119" fmla="*/ 2147483647 h 4763"/>
                <a:gd name="T120" fmla="*/ 2147483647 w 1510"/>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10"/>
                <a:gd name="T184" fmla="*/ 0 h 4763"/>
                <a:gd name="T185" fmla="*/ 1510 w 1510"/>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10" h="4763">
                  <a:moveTo>
                    <a:pt x="544" y="802"/>
                  </a:moveTo>
                  <a:lnTo>
                    <a:pt x="749" y="1234"/>
                  </a:lnTo>
                  <a:lnTo>
                    <a:pt x="951" y="806"/>
                  </a:lnTo>
                  <a:lnTo>
                    <a:pt x="1157" y="841"/>
                  </a:lnTo>
                  <a:lnTo>
                    <a:pt x="1184" y="846"/>
                  </a:lnTo>
                  <a:lnTo>
                    <a:pt x="1212" y="852"/>
                  </a:lnTo>
                  <a:lnTo>
                    <a:pt x="1238" y="860"/>
                  </a:lnTo>
                  <a:lnTo>
                    <a:pt x="1264" y="870"/>
                  </a:lnTo>
                  <a:lnTo>
                    <a:pt x="1287" y="879"/>
                  </a:lnTo>
                  <a:lnTo>
                    <a:pt x="1311" y="892"/>
                  </a:lnTo>
                  <a:lnTo>
                    <a:pt x="1333" y="907"/>
                  </a:lnTo>
                  <a:lnTo>
                    <a:pt x="1353" y="922"/>
                  </a:lnTo>
                  <a:lnTo>
                    <a:pt x="1371" y="941"/>
                  </a:lnTo>
                  <a:lnTo>
                    <a:pt x="1388" y="960"/>
                  </a:lnTo>
                  <a:lnTo>
                    <a:pt x="1403" y="984"/>
                  </a:lnTo>
                  <a:lnTo>
                    <a:pt x="1414" y="1007"/>
                  </a:lnTo>
                  <a:lnTo>
                    <a:pt x="1423" y="1034"/>
                  </a:lnTo>
                  <a:lnTo>
                    <a:pt x="1432" y="1065"/>
                  </a:lnTo>
                  <a:lnTo>
                    <a:pt x="1436" y="1096"/>
                  </a:lnTo>
                  <a:lnTo>
                    <a:pt x="1437" y="1131"/>
                  </a:lnTo>
                  <a:lnTo>
                    <a:pt x="1437" y="2330"/>
                  </a:lnTo>
                  <a:lnTo>
                    <a:pt x="1301" y="2735"/>
                  </a:lnTo>
                  <a:lnTo>
                    <a:pt x="1510" y="3779"/>
                  </a:lnTo>
                  <a:lnTo>
                    <a:pt x="1157" y="3779"/>
                  </a:lnTo>
                  <a:lnTo>
                    <a:pt x="1021" y="4763"/>
                  </a:lnTo>
                  <a:lnTo>
                    <a:pt x="910" y="4763"/>
                  </a:lnTo>
                  <a:lnTo>
                    <a:pt x="1046" y="3779"/>
                  </a:lnTo>
                  <a:lnTo>
                    <a:pt x="787" y="3779"/>
                  </a:lnTo>
                  <a:lnTo>
                    <a:pt x="782" y="4763"/>
                  </a:lnTo>
                  <a:lnTo>
                    <a:pt x="727" y="4763"/>
                  </a:lnTo>
                  <a:lnTo>
                    <a:pt x="732" y="3779"/>
                  </a:lnTo>
                  <a:lnTo>
                    <a:pt x="464" y="3779"/>
                  </a:lnTo>
                  <a:lnTo>
                    <a:pt x="599" y="4763"/>
                  </a:lnTo>
                  <a:lnTo>
                    <a:pt x="488" y="4763"/>
                  </a:lnTo>
                  <a:lnTo>
                    <a:pt x="353" y="3779"/>
                  </a:lnTo>
                  <a:lnTo>
                    <a:pt x="0" y="3779"/>
                  </a:lnTo>
                  <a:lnTo>
                    <a:pt x="213" y="2737"/>
                  </a:lnTo>
                  <a:lnTo>
                    <a:pt x="73" y="2331"/>
                  </a:lnTo>
                  <a:lnTo>
                    <a:pt x="73" y="1131"/>
                  </a:lnTo>
                  <a:lnTo>
                    <a:pt x="74" y="1098"/>
                  </a:lnTo>
                  <a:lnTo>
                    <a:pt x="78" y="1066"/>
                  </a:lnTo>
                  <a:lnTo>
                    <a:pt x="84" y="1037"/>
                  </a:lnTo>
                  <a:lnTo>
                    <a:pt x="93" y="1011"/>
                  </a:lnTo>
                  <a:lnTo>
                    <a:pt x="104" y="988"/>
                  </a:lnTo>
                  <a:lnTo>
                    <a:pt x="118" y="966"/>
                  </a:lnTo>
                  <a:lnTo>
                    <a:pt x="133" y="947"/>
                  </a:lnTo>
                  <a:lnTo>
                    <a:pt x="151" y="929"/>
                  </a:lnTo>
                  <a:lnTo>
                    <a:pt x="170" y="912"/>
                  </a:lnTo>
                  <a:lnTo>
                    <a:pt x="191" y="898"/>
                  </a:lnTo>
                  <a:lnTo>
                    <a:pt x="213" y="886"/>
                  </a:lnTo>
                  <a:lnTo>
                    <a:pt x="236" y="875"/>
                  </a:lnTo>
                  <a:lnTo>
                    <a:pt x="260" y="866"/>
                  </a:lnTo>
                  <a:lnTo>
                    <a:pt x="284" y="857"/>
                  </a:lnTo>
                  <a:lnTo>
                    <a:pt x="311" y="850"/>
                  </a:lnTo>
                  <a:lnTo>
                    <a:pt x="337" y="845"/>
                  </a:lnTo>
                  <a:lnTo>
                    <a:pt x="544" y="802"/>
                  </a:lnTo>
                  <a:close/>
                  <a:moveTo>
                    <a:pt x="956" y="919"/>
                  </a:moveTo>
                  <a:lnTo>
                    <a:pt x="747" y="1360"/>
                  </a:lnTo>
                  <a:lnTo>
                    <a:pt x="536" y="915"/>
                  </a:lnTo>
                  <a:lnTo>
                    <a:pt x="365" y="945"/>
                  </a:lnTo>
                  <a:lnTo>
                    <a:pt x="348" y="949"/>
                  </a:lnTo>
                  <a:lnTo>
                    <a:pt x="330" y="953"/>
                  </a:lnTo>
                  <a:lnTo>
                    <a:pt x="312" y="959"/>
                  </a:lnTo>
                  <a:lnTo>
                    <a:pt x="295" y="966"/>
                  </a:lnTo>
                  <a:lnTo>
                    <a:pt x="279" y="973"/>
                  </a:lnTo>
                  <a:lnTo>
                    <a:pt x="264" y="981"/>
                  </a:lnTo>
                  <a:lnTo>
                    <a:pt x="250" y="991"/>
                  </a:lnTo>
                  <a:lnTo>
                    <a:pt x="236" y="1002"/>
                  </a:lnTo>
                  <a:lnTo>
                    <a:pt x="225" y="1012"/>
                  </a:lnTo>
                  <a:lnTo>
                    <a:pt x="214" y="1026"/>
                  </a:lnTo>
                  <a:lnTo>
                    <a:pt x="205" y="1040"/>
                  </a:lnTo>
                  <a:lnTo>
                    <a:pt x="196" y="1056"/>
                  </a:lnTo>
                  <a:lnTo>
                    <a:pt x="191" y="1073"/>
                  </a:lnTo>
                  <a:lnTo>
                    <a:pt x="185" y="1091"/>
                  </a:lnTo>
                  <a:lnTo>
                    <a:pt x="183" y="1110"/>
                  </a:lnTo>
                  <a:lnTo>
                    <a:pt x="183" y="1131"/>
                  </a:lnTo>
                  <a:lnTo>
                    <a:pt x="183" y="2253"/>
                  </a:lnTo>
                  <a:lnTo>
                    <a:pt x="361" y="2253"/>
                  </a:lnTo>
                  <a:lnTo>
                    <a:pt x="404" y="2069"/>
                  </a:lnTo>
                  <a:lnTo>
                    <a:pt x="404" y="1504"/>
                  </a:lnTo>
                  <a:lnTo>
                    <a:pt x="334" y="1184"/>
                  </a:lnTo>
                  <a:lnTo>
                    <a:pt x="387" y="1172"/>
                  </a:lnTo>
                  <a:lnTo>
                    <a:pt x="459" y="1499"/>
                  </a:lnTo>
                  <a:lnTo>
                    <a:pt x="459" y="2072"/>
                  </a:lnTo>
                  <a:lnTo>
                    <a:pt x="1050" y="2072"/>
                  </a:lnTo>
                  <a:lnTo>
                    <a:pt x="1050" y="1499"/>
                  </a:lnTo>
                  <a:lnTo>
                    <a:pt x="1123" y="1172"/>
                  </a:lnTo>
                  <a:lnTo>
                    <a:pt x="1176" y="1184"/>
                  </a:lnTo>
                  <a:lnTo>
                    <a:pt x="1105" y="1504"/>
                  </a:lnTo>
                  <a:lnTo>
                    <a:pt x="1105" y="2069"/>
                  </a:lnTo>
                  <a:lnTo>
                    <a:pt x="1147" y="2253"/>
                  </a:lnTo>
                  <a:lnTo>
                    <a:pt x="1327" y="2253"/>
                  </a:lnTo>
                  <a:lnTo>
                    <a:pt x="1327" y="1131"/>
                  </a:lnTo>
                  <a:lnTo>
                    <a:pt x="1326" y="1110"/>
                  </a:lnTo>
                  <a:lnTo>
                    <a:pt x="1323" y="1092"/>
                  </a:lnTo>
                  <a:lnTo>
                    <a:pt x="1319" y="1073"/>
                  </a:lnTo>
                  <a:lnTo>
                    <a:pt x="1314" y="1056"/>
                  </a:lnTo>
                  <a:lnTo>
                    <a:pt x="1305" y="1041"/>
                  </a:lnTo>
                  <a:lnTo>
                    <a:pt x="1297" y="1028"/>
                  </a:lnTo>
                  <a:lnTo>
                    <a:pt x="1286" y="1014"/>
                  </a:lnTo>
                  <a:lnTo>
                    <a:pt x="1275" y="1002"/>
                  </a:lnTo>
                  <a:lnTo>
                    <a:pt x="1263" y="992"/>
                  </a:lnTo>
                  <a:lnTo>
                    <a:pt x="1249" y="982"/>
                  </a:lnTo>
                  <a:lnTo>
                    <a:pt x="1234" y="973"/>
                  </a:lnTo>
                  <a:lnTo>
                    <a:pt x="1219" y="966"/>
                  </a:lnTo>
                  <a:lnTo>
                    <a:pt x="1202" y="959"/>
                  </a:lnTo>
                  <a:lnTo>
                    <a:pt x="1186" y="955"/>
                  </a:lnTo>
                  <a:lnTo>
                    <a:pt x="1169" y="951"/>
                  </a:lnTo>
                  <a:lnTo>
                    <a:pt x="1151" y="947"/>
                  </a:lnTo>
                  <a:lnTo>
                    <a:pt x="956" y="919"/>
                  </a:lnTo>
                  <a:close/>
                  <a:moveTo>
                    <a:pt x="349" y="2308"/>
                  </a:moveTo>
                  <a:lnTo>
                    <a:pt x="183" y="2308"/>
                  </a:lnTo>
                  <a:lnTo>
                    <a:pt x="183" y="2311"/>
                  </a:lnTo>
                  <a:lnTo>
                    <a:pt x="282" y="2595"/>
                  </a:lnTo>
                  <a:lnTo>
                    <a:pt x="349" y="2308"/>
                  </a:lnTo>
                  <a:close/>
                  <a:moveTo>
                    <a:pt x="1327" y="2308"/>
                  </a:moveTo>
                  <a:lnTo>
                    <a:pt x="1160" y="2308"/>
                  </a:lnTo>
                  <a:lnTo>
                    <a:pt x="1227" y="2607"/>
                  </a:lnTo>
                  <a:lnTo>
                    <a:pt x="1327" y="2311"/>
                  </a:lnTo>
                  <a:lnTo>
                    <a:pt x="1327" y="2308"/>
                  </a:lnTo>
                  <a:close/>
                  <a:moveTo>
                    <a:pt x="1085" y="372"/>
                  </a:moveTo>
                  <a:lnTo>
                    <a:pt x="1085" y="445"/>
                  </a:lnTo>
                  <a:lnTo>
                    <a:pt x="1084" y="473"/>
                  </a:lnTo>
                  <a:lnTo>
                    <a:pt x="1081" y="496"/>
                  </a:lnTo>
                  <a:lnTo>
                    <a:pt x="1079" y="506"/>
                  </a:lnTo>
                  <a:lnTo>
                    <a:pt x="1076" y="515"/>
                  </a:lnTo>
                  <a:lnTo>
                    <a:pt x="1072" y="522"/>
                  </a:lnTo>
                  <a:lnTo>
                    <a:pt x="1068" y="529"/>
                  </a:lnTo>
                  <a:lnTo>
                    <a:pt x="1063" y="534"/>
                  </a:lnTo>
                  <a:lnTo>
                    <a:pt x="1058" y="540"/>
                  </a:lnTo>
                  <a:lnTo>
                    <a:pt x="1052" y="544"/>
                  </a:lnTo>
                  <a:lnTo>
                    <a:pt x="1047" y="547"/>
                  </a:lnTo>
                  <a:lnTo>
                    <a:pt x="1033" y="551"/>
                  </a:lnTo>
                  <a:lnTo>
                    <a:pt x="1018" y="552"/>
                  </a:lnTo>
                  <a:lnTo>
                    <a:pt x="1010" y="577"/>
                  </a:lnTo>
                  <a:lnTo>
                    <a:pt x="1025" y="587"/>
                  </a:lnTo>
                  <a:lnTo>
                    <a:pt x="1041" y="596"/>
                  </a:lnTo>
                  <a:lnTo>
                    <a:pt x="1058" y="603"/>
                  </a:lnTo>
                  <a:lnTo>
                    <a:pt x="1074" y="609"/>
                  </a:lnTo>
                  <a:lnTo>
                    <a:pt x="1092" y="614"/>
                  </a:lnTo>
                  <a:lnTo>
                    <a:pt x="1112" y="617"/>
                  </a:lnTo>
                  <a:lnTo>
                    <a:pt x="1129" y="618"/>
                  </a:lnTo>
                  <a:lnTo>
                    <a:pt x="1149" y="617"/>
                  </a:lnTo>
                  <a:lnTo>
                    <a:pt x="1151" y="617"/>
                  </a:lnTo>
                  <a:lnTo>
                    <a:pt x="1149" y="631"/>
                  </a:lnTo>
                  <a:lnTo>
                    <a:pt x="1146" y="643"/>
                  </a:lnTo>
                  <a:lnTo>
                    <a:pt x="1140" y="654"/>
                  </a:lnTo>
                  <a:lnTo>
                    <a:pt x="1135" y="666"/>
                  </a:lnTo>
                  <a:lnTo>
                    <a:pt x="1128" y="677"/>
                  </a:lnTo>
                  <a:lnTo>
                    <a:pt x="1120" y="687"/>
                  </a:lnTo>
                  <a:lnTo>
                    <a:pt x="1112" y="697"/>
                  </a:lnTo>
                  <a:lnTo>
                    <a:pt x="1102" y="706"/>
                  </a:lnTo>
                  <a:lnTo>
                    <a:pt x="1091" y="714"/>
                  </a:lnTo>
                  <a:lnTo>
                    <a:pt x="1080" y="721"/>
                  </a:lnTo>
                  <a:lnTo>
                    <a:pt x="1068" y="728"/>
                  </a:lnTo>
                  <a:lnTo>
                    <a:pt x="1055" y="734"/>
                  </a:lnTo>
                  <a:lnTo>
                    <a:pt x="1041" y="739"/>
                  </a:lnTo>
                  <a:lnTo>
                    <a:pt x="1028" y="743"/>
                  </a:lnTo>
                  <a:lnTo>
                    <a:pt x="1014" y="746"/>
                  </a:lnTo>
                  <a:lnTo>
                    <a:pt x="999" y="747"/>
                  </a:lnTo>
                  <a:lnTo>
                    <a:pt x="984" y="747"/>
                  </a:lnTo>
                  <a:lnTo>
                    <a:pt x="970" y="747"/>
                  </a:lnTo>
                  <a:lnTo>
                    <a:pt x="958" y="746"/>
                  </a:lnTo>
                  <a:lnTo>
                    <a:pt x="944" y="743"/>
                  </a:lnTo>
                  <a:lnTo>
                    <a:pt x="930" y="740"/>
                  </a:lnTo>
                  <a:lnTo>
                    <a:pt x="918" y="736"/>
                  </a:lnTo>
                  <a:lnTo>
                    <a:pt x="905" y="732"/>
                  </a:lnTo>
                  <a:lnTo>
                    <a:pt x="893" y="727"/>
                  </a:lnTo>
                  <a:lnTo>
                    <a:pt x="878" y="736"/>
                  </a:lnTo>
                  <a:lnTo>
                    <a:pt x="861" y="743"/>
                  </a:lnTo>
                  <a:lnTo>
                    <a:pt x="846" y="750"/>
                  </a:lnTo>
                  <a:lnTo>
                    <a:pt x="829" y="757"/>
                  </a:lnTo>
                  <a:lnTo>
                    <a:pt x="812" y="761"/>
                  </a:lnTo>
                  <a:lnTo>
                    <a:pt x="794" y="764"/>
                  </a:lnTo>
                  <a:lnTo>
                    <a:pt x="776" y="767"/>
                  </a:lnTo>
                  <a:lnTo>
                    <a:pt x="757" y="767"/>
                  </a:lnTo>
                  <a:lnTo>
                    <a:pt x="738" y="767"/>
                  </a:lnTo>
                  <a:lnTo>
                    <a:pt x="719" y="764"/>
                  </a:lnTo>
                  <a:lnTo>
                    <a:pt x="699" y="760"/>
                  </a:lnTo>
                  <a:lnTo>
                    <a:pt x="681" y="756"/>
                  </a:lnTo>
                  <a:lnTo>
                    <a:pt x="664" y="749"/>
                  </a:lnTo>
                  <a:lnTo>
                    <a:pt x="646" y="740"/>
                  </a:lnTo>
                  <a:lnTo>
                    <a:pt x="629" y="732"/>
                  </a:lnTo>
                  <a:lnTo>
                    <a:pt x="614" y="721"/>
                  </a:lnTo>
                  <a:lnTo>
                    <a:pt x="600" y="728"/>
                  </a:lnTo>
                  <a:lnTo>
                    <a:pt x="587" y="734"/>
                  </a:lnTo>
                  <a:lnTo>
                    <a:pt x="573" y="739"/>
                  </a:lnTo>
                  <a:lnTo>
                    <a:pt x="559" y="742"/>
                  </a:lnTo>
                  <a:lnTo>
                    <a:pt x="544" y="745"/>
                  </a:lnTo>
                  <a:lnTo>
                    <a:pt x="529" y="747"/>
                  </a:lnTo>
                  <a:lnTo>
                    <a:pt x="514" y="747"/>
                  </a:lnTo>
                  <a:lnTo>
                    <a:pt x="499" y="747"/>
                  </a:lnTo>
                  <a:lnTo>
                    <a:pt x="484" y="746"/>
                  </a:lnTo>
                  <a:lnTo>
                    <a:pt x="469" y="743"/>
                  </a:lnTo>
                  <a:lnTo>
                    <a:pt x="455" y="739"/>
                  </a:lnTo>
                  <a:lnTo>
                    <a:pt x="441" y="734"/>
                  </a:lnTo>
                  <a:lnTo>
                    <a:pt x="429" y="728"/>
                  </a:lnTo>
                  <a:lnTo>
                    <a:pt x="416" y="721"/>
                  </a:lnTo>
                  <a:lnTo>
                    <a:pt x="405" y="714"/>
                  </a:lnTo>
                  <a:lnTo>
                    <a:pt x="394" y="706"/>
                  </a:lnTo>
                  <a:lnTo>
                    <a:pt x="385" y="697"/>
                  </a:lnTo>
                  <a:lnTo>
                    <a:pt x="376" y="687"/>
                  </a:lnTo>
                  <a:lnTo>
                    <a:pt x="368" y="677"/>
                  </a:lnTo>
                  <a:lnTo>
                    <a:pt x="361" y="666"/>
                  </a:lnTo>
                  <a:lnTo>
                    <a:pt x="356" y="654"/>
                  </a:lnTo>
                  <a:lnTo>
                    <a:pt x="352" y="643"/>
                  </a:lnTo>
                  <a:lnTo>
                    <a:pt x="348" y="631"/>
                  </a:lnTo>
                  <a:lnTo>
                    <a:pt x="345" y="617"/>
                  </a:lnTo>
                  <a:lnTo>
                    <a:pt x="348" y="617"/>
                  </a:lnTo>
                  <a:lnTo>
                    <a:pt x="370" y="618"/>
                  </a:lnTo>
                  <a:lnTo>
                    <a:pt x="390" y="615"/>
                  </a:lnTo>
                  <a:lnTo>
                    <a:pt x="411" y="613"/>
                  </a:lnTo>
                  <a:lnTo>
                    <a:pt x="430" y="606"/>
                  </a:lnTo>
                  <a:lnTo>
                    <a:pt x="449" y="599"/>
                  </a:lnTo>
                  <a:lnTo>
                    <a:pt x="469" y="589"/>
                  </a:lnTo>
                  <a:lnTo>
                    <a:pt x="485" y="578"/>
                  </a:lnTo>
                  <a:lnTo>
                    <a:pt x="500" y="566"/>
                  </a:lnTo>
                  <a:lnTo>
                    <a:pt x="496" y="552"/>
                  </a:lnTo>
                  <a:lnTo>
                    <a:pt x="478" y="552"/>
                  </a:lnTo>
                  <a:lnTo>
                    <a:pt x="469" y="552"/>
                  </a:lnTo>
                  <a:lnTo>
                    <a:pt x="462" y="551"/>
                  </a:lnTo>
                  <a:lnTo>
                    <a:pt x="453" y="548"/>
                  </a:lnTo>
                  <a:lnTo>
                    <a:pt x="447" y="544"/>
                  </a:lnTo>
                  <a:lnTo>
                    <a:pt x="440" y="540"/>
                  </a:lnTo>
                  <a:lnTo>
                    <a:pt x="434" y="534"/>
                  </a:lnTo>
                  <a:lnTo>
                    <a:pt x="430" y="529"/>
                  </a:lnTo>
                  <a:lnTo>
                    <a:pt x="425" y="521"/>
                  </a:lnTo>
                  <a:lnTo>
                    <a:pt x="422" y="511"/>
                  </a:lnTo>
                  <a:lnTo>
                    <a:pt x="418" y="501"/>
                  </a:lnTo>
                  <a:lnTo>
                    <a:pt x="416" y="489"/>
                  </a:lnTo>
                  <a:lnTo>
                    <a:pt x="414" y="477"/>
                  </a:lnTo>
                  <a:lnTo>
                    <a:pt x="412" y="445"/>
                  </a:lnTo>
                  <a:lnTo>
                    <a:pt x="412" y="372"/>
                  </a:lnTo>
                  <a:lnTo>
                    <a:pt x="412" y="353"/>
                  </a:lnTo>
                  <a:lnTo>
                    <a:pt x="414" y="335"/>
                  </a:lnTo>
                  <a:lnTo>
                    <a:pt x="419" y="299"/>
                  </a:lnTo>
                  <a:lnTo>
                    <a:pt x="427" y="264"/>
                  </a:lnTo>
                  <a:lnTo>
                    <a:pt x="438" y="231"/>
                  </a:lnTo>
                  <a:lnTo>
                    <a:pt x="452" y="198"/>
                  </a:lnTo>
                  <a:lnTo>
                    <a:pt x="469" y="168"/>
                  </a:lnTo>
                  <a:lnTo>
                    <a:pt x="486" y="139"/>
                  </a:lnTo>
                  <a:lnTo>
                    <a:pt x="508" y="113"/>
                  </a:lnTo>
                  <a:lnTo>
                    <a:pt x="532" y="88"/>
                  </a:lnTo>
                  <a:lnTo>
                    <a:pt x="544" y="77"/>
                  </a:lnTo>
                  <a:lnTo>
                    <a:pt x="558" y="66"/>
                  </a:lnTo>
                  <a:lnTo>
                    <a:pt x="572" y="56"/>
                  </a:lnTo>
                  <a:lnTo>
                    <a:pt x="585" y="47"/>
                  </a:lnTo>
                  <a:lnTo>
                    <a:pt x="600" y="38"/>
                  </a:lnTo>
                  <a:lnTo>
                    <a:pt x="616" y="30"/>
                  </a:lnTo>
                  <a:lnTo>
                    <a:pt x="631" y="23"/>
                  </a:lnTo>
                  <a:lnTo>
                    <a:pt x="646" y="18"/>
                  </a:lnTo>
                  <a:lnTo>
                    <a:pt x="662" y="12"/>
                  </a:lnTo>
                  <a:lnTo>
                    <a:pt x="679" y="8"/>
                  </a:lnTo>
                  <a:lnTo>
                    <a:pt x="697" y="5"/>
                  </a:lnTo>
                  <a:lnTo>
                    <a:pt x="713" y="3"/>
                  </a:lnTo>
                  <a:lnTo>
                    <a:pt x="731" y="1"/>
                  </a:lnTo>
                  <a:lnTo>
                    <a:pt x="749" y="0"/>
                  </a:lnTo>
                  <a:lnTo>
                    <a:pt x="767" y="1"/>
                  </a:lnTo>
                  <a:lnTo>
                    <a:pt x="785" y="3"/>
                  </a:lnTo>
                  <a:lnTo>
                    <a:pt x="801" y="5"/>
                  </a:lnTo>
                  <a:lnTo>
                    <a:pt x="819" y="8"/>
                  </a:lnTo>
                  <a:lnTo>
                    <a:pt x="835" y="12"/>
                  </a:lnTo>
                  <a:lnTo>
                    <a:pt x="852" y="18"/>
                  </a:lnTo>
                  <a:lnTo>
                    <a:pt x="867" y="23"/>
                  </a:lnTo>
                  <a:lnTo>
                    <a:pt x="882" y="30"/>
                  </a:lnTo>
                  <a:lnTo>
                    <a:pt x="897" y="38"/>
                  </a:lnTo>
                  <a:lnTo>
                    <a:pt x="912" y="47"/>
                  </a:lnTo>
                  <a:lnTo>
                    <a:pt x="926" y="56"/>
                  </a:lnTo>
                  <a:lnTo>
                    <a:pt x="940" y="66"/>
                  </a:lnTo>
                  <a:lnTo>
                    <a:pt x="954" y="77"/>
                  </a:lnTo>
                  <a:lnTo>
                    <a:pt x="966" y="88"/>
                  </a:lnTo>
                  <a:lnTo>
                    <a:pt x="989" y="113"/>
                  </a:lnTo>
                  <a:lnTo>
                    <a:pt x="1011" y="139"/>
                  </a:lnTo>
                  <a:lnTo>
                    <a:pt x="1029" y="168"/>
                  </a:lnTo>
                  <a:lnTo>
                    <a:pt x="1046" y="198"/>
                  </a:lnTo>
                  <a:lnTo>
                    <a:pt x="1059" y="231"/>
                  </a:lnTo>
                  <a:lnTo>
                    <a:pt x="1070" y="264"/>
                  </a:lnTo>
                  <a:lnTo>
                    <a:pt x="1079" y="299"/>
                  </a:lnTo>
                  <a:lnTo>
                    <a:pt x="1084" y="335"/>
                  </a:lnTo>
                  <a:lnTo>
                    <a:pt x="1085" y="353"/>
                  </a:lnTo>
                  <a:lnTo>
                    <a:pt x="1085" y="372"/>
                  </a:lnTo>
                  <a:close/>
                  <a:moveTo>
                    <a:pt x="911" y="199"/>
                  </a:moveTo>
                  <a:lnTo>
                    <a:pt x="911" y="199"/>
                  </a:lnTo>
                  <a:lnTo>
                    <a:pt x="925" y="217"/>
                  </a:lnTo>
                  <a:lnTo>
                    <a:pt x="938" y="236"/>
                  </a:lnTo>
                  <a:lnTo>
                    <a:pt x="948" y="257"/>
                  </a:lnTo>
                  <a:lnTo>
                    <a:pt x="958" y="278"/>
                  </a:lnTo>
                  <a:lnTo>
                    <a:pt x="966" y="301"/>
                  </a:lnTo>
                  <a:lnTo>
                    <a:pt x="971" y="326"/>
                  </a:lnTo>
                  <a:lnTo>
                    <a:pt x="974" y="350"/>
                  </a:lnTo>
                  <a:lnTo>
                    <a:pt x="976" y="376"/>
                  </a:lnTo>
                  <a:lnTo>
                    <a:pt x="976" y="463"/>
                  </a:lnTo>
                  <a:lnTo>
                    <a:pt x="974" y="489"/>
                  </a:lnTo>
                  <a:lnTo>
                    <a:pt x="970" y="514"/>
                  </a:lnTo>
                  <a:lnTo>
                    <a:pt x="965" y="539"/>
                  </a:lnTo>
                  <a:lnTo>
                    <a:pt x="958" y="561"/>
                  </a:lnTo>
                  <a:lnTo>
                    <a:pt x="948" y="582"/>
                  </a:lnTo>
                  <a:lnTo>
                    <a:pt x="937" y="603"/>
                  </a:lnTo>
                  <a:lnTo>
                    <a:pt x="925" y="622"/>
                  </a:lnTo>
                  <a:lnTo>
                    <a:pt x="911" y="640"/>
                  </a:lnTo>
                  <a:lnTo>
                    <a:pt x="894" y="657"/>
                  </a:lnTo>
                  <a:lnTo>
                    <a:pt x="878" y="670"/>
                  </a:lnTo>
                  <a:lnTo>
                    <a:pt x="860" y="683"/>
                  </a:lnTo>
                  <a:lnTo>
                    <a:pt x="841" y="692"/>
                  </a:lnTo>
                  <a:lnTo>
                    <a:pt x="822" y="701"/>
                  </a:lnTo>
                  <a:lnTo>
                    <a:pt x="801" y="708"/>
                  </a:lnTo>
                  <a:lnTo>
                    <a:pt x="779" y="710"/>
                  </a:lnTo>
                  <a:lnTo>
                    <a:pt x="757" y="712"/>
                  </a:lnTo>
                  <a:lnTo>
                    <a:pt x="735" y="710"/>
                  </a:lnTo>
                  <a:lnTo>
                    <a:pt x="714" y="708"/>
                  </a:lnTo>
                  <a:lnTo>
                    <a:pt x="694" y="701"/>
                  </a:lnTo>
                  <a:lnTo>
                    <a:pt x="673" y="692"/>
                  </a:lnTo>
                  <a:lnTo>
                    <a:pt x="655" y="683"/>
                  </a:lnTo>
                  <a:lnTo>
                    <a:pt x="636" y="670"/>
                  </a:lnTo>
                  <a:lnTo>
                    <a:pt x="620" y="657"/>
                  </a:lnTo>
                  <a:lnTo>
                    <a:pt x="605" y="640"/>
                  </a:lnTo>
                  <a:lnTo>
                    <a:pt x="591" y="622"/>
                  </a:lnTo>
                  <a:lnTo>
                    <a:pt x="577" y="603"/>
                  </a:lnTo>
                  <a:lnTo>
                    <a:pt x="566" y="582"/>
                  </a:lnTo>
                  <a:lnTo>
                    <a:pt x="556" y="561"/>
                  </a:lnTo>
                  <a:lnTo>
                    <a:pt x="550" y="539"/>
                  </a:lnTo>
                  <a:lnTo>
                    <a:pt x="544" y="514"/>
                  </a:lnTo>
                  <a:lnTo>
                    <a:pt x="540" y="489"/>
                  </a:lnTo>
                  <a:lnTo>
                    <a:pt x="540" y="463"/>
                  </a:lnTo>
                  <a:lnTo>
                    <a:pt x="540" y="434"/>
                  </a:lnTo>
                  <a:lnTo>
                    <a:pt x="569" y="438"/>
                  </a:lnTo>
                  <a:lnTo>
                    <a:pt x="599" y="440"/>
                  </a:lnTo>
                  <a:lnTo>
                    <a:pt x="627" y="438"/>
                  </a:lnTo>
                  <a:lnTo>
                    <a:pt x="654" y="434"/>
                  </a:lnTo>
                  <a:lnTo>
                    <a:pt x="680" y="429"/>
                  </a:lnTo>
                  <a:lnTo>
                    <a:pt x="705" y="422"/>
                  </a:lnTo>
                  <a:lnTo>
                    <a:pt x="730" y="412"/>
                  </a:lnTo>
                  <a:lnTo>
                    <a:pt x="753" y="400"/>
                  </a:lnTo>
                  <a:lnTo>
                    <a:pt x="776" y="386"/>
                  </a:lnTo>
                  <a:lnTo>
                    <a:pt x="797" y="371"/>
                  </a:lnTo>
                  <a:lnTo>
                    <a:pt x="818" y="354"/>
                  </a:lnTo>
                  <a:lnTo>
                    <a:pt x="835" y="337"/>
                  </a:lnTo>
                  <a:lnTo>
                    <a:pt x="852" y="316"/>
                  </a:lnTo>
                  <a:lnTo>
                    <a:pt x="868" y="295"/>
                  </a:lnTo>
                  <a:lnTo>
                    <a:pt x="882" y="273"/>
                  </a:lnTo>
                  <a:lnTo>
                    <a:pt x="893" y="250"/>
                  </a:lnTo>
                  <a:lnTo>
                    <a:pt x="903" y="225"/>
                  </a:lnTo>
                  <a:lnTo>
                    <a:pt x="911" y="199"/>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000000"/>
                </a:solidFill>
              </a:endParaRPr>
            </a:p>
          </p:txBody>
        </p:sp>
        <p:sp>
          <p:nvSpPr>
            <p:cNvPr id="11" name="Freeform 108"/>
            <p:cNvSpPr>
              <a:spLocks noChangeAspect="1" noEditPoints="1"/>
            </p:cNvSpPr>
            <p:nvPr/>
          </p:nvSpPr>
          <p:spPr bwMode="gray">
            <a:xfrm>
              <a:off x="6642844" y="5337664"/>
              <a:ext cx="128183" cy="359148"/>
            </a:xfrm>
            <a:custGeom>
              <a:avLst/>
              <a:gdLst>
                <a:gd name="T0" fmla="*/ 2147483647 w 1700"/>
                <a:gd name="T1" fmla="*/ 2147483647 h 4763"/>
                <a:gd name="T2" fmla="*/ 2147483647 w 1700"/>
                <a:gd name="T3" fmla="*/ 2147483647 h 4763"/>
                <a:gd name="T4" fmla="*/ 2147483647 w 1700"/>
                <a:gd name="T5" fmla="*/ 2147483647 h 4763"/>
                <a:gd name="T6" fmla="*/ 2147483647 w 1700"/>
                <a:gd name="T7" fmla="*/ 2147483647 h 4763"/>
                <a:gd name="T8" fmla="*/ 2147483647 w 1700"/>
                <a:gd name="T9" fmla="*/ 2147483647 h 4763"/>
                <a:gd name="T10" fmla="*/ 2147483647 w 1700"/>
                <a:gd name="T11" fmla="*/ 2147483647 h 4763"/>
                <a:gd name="T12" fmla="*/ 2147483647 w 1700"/>
                <a:gd name="T13" fmla="*/ 2147483647 h 4763"/>
                <a:gd name="T14" fmla="*/ 2147483647 w 1700"/>
                <a:gd name="T15" fmla="*/ 2147483647 h 4763"/>
                <a:gd name="T16" fmla="*/ 2147483647 w 1700"/>
                <a:gd name="T17" fmla="*/ 2147483647 h 4763"/>
                <a:gd name="T18" fmla="*/ 2147483647 w 1700"/>
                <a:gd name="T19" fmla="*/ 2147483647 h 4763"/>
                <a:gd name="T20" fmla="*/ 2147483647 w 1700"/>
                <a:gd name="T21" fmla="*/ 2147483647 h 4763"/>
                <a:gd name="T22" fmla="*/ 2147483647 w 1700"/>
                <a:gd name="T23" fmla="*/ 2147483647 h 4763"/>
                <a:gd name="T24" fmla="*/ 2147483647 w 1700"/>
                <a:gd name="T25" fmla="*/ 2147483647 h 4763"/>
                <a:gd name="T26" fmla="*/ 2147483647 w 1700"/>
                <a:gd name="T27" fmla="*/ 2147483647 h 4763"/>
                <a:gd name="T28" fmla="*/ 2147483647 w 1700"/>
                <a:gd name="T29" fmla="*/ 2147483647 h 4763"/>
                <a:gd name="T30" fmla="*/ 2147483647 w 1700"/>
                <a:gd name="T31" fmla="*/ 2147483647 h 4763"/>
                <a:gd name="T32" fmla="*/ 2147483647 w 1700"/>
                <a:gd name="T33" fmla="*/ 2147483647 h 4763"/>
                <a:gd name="T34" fmla="*/ 2147483647 w 1700"/>
                <a:gd name="T35" fmla="*/ 2147483647 h 4763"/>
                <a:gd name="T36" fmla="*/ 2147483647 w 1700"/>
                <a:gd name="T37" fmla="*/ 2147483647 h 4763"/>
                <a:gd name="T38" fmla="*/ 2147483647 w 1700"/>
                <a:gd name="T39" fmla="*/ 2147483647 h 4763"/>
                <a:gd name="T40" fmla="*/ 2147483647 w 1700"/>
                <a:gd name="T41" fmla="*/ 0 h 4763"/>
                <a:gd name="T42" fmla="*/ 2147483647 w 1700"/>
                <a:gd name="T43" fmla="*/ 2147483647 h 4763"/>
                <a:gd name="T44" fmla="*/ 2147483647 w 1700"/>
                <a:gd name="T45" fmla="*/ 2147483647 h 4763"/>
                <a:gd name="T46" fmla="*/ 2147483647 w 1700"/>
                <a:gd name="T47" fmla="*/ 2147483647 h 4763"/>
                <a:gd name="T48" fmla="*/ 2147483647 w 1700"/>
                <a:gd name="T49" fmla="*/ 2147483647 h 4763"/>
                <a:gd name="T50" fmla="*/ 2147483647 w 1700"/>
                <a:gd name="T51" fmla="*/ 2147483647 h 4763"/>
                <a:gd name="T52" fmla="*/ 2147483647 w 1700"/>
                <a:gd name="T53" fmla="*/ 2147483647 h 4763"/>
                <a:gd name="T54" fmla="*/ 2147483647 w 1700"/>
                <a:gd name="T55" fmla="*/ 2147483647 h 4763"/>
                <a:gd name="T56" fmla="*/ 2147483647 w 1700"/>
                <a:gd name="T57" fmla="*/ 2147483647 h 4763"/>
                <a:gd name="T58" fmla="*/ 2147483647 w 1700"/>
                <a:gd name="T59" fmla="*/ 2147483647 h 4763"/>
                <a:gd name="T60" fmla="*/ 2147483647 w 1700"/>
                <a:gd name="T61" fmla="*/ 2147483647 h 4763"/>
                <a:gd name="T62" fmla="*/ 2147483647 w 1700"/>
                <a:gd name="T63" fmla="*/ 2147483647 h 4763"/>
                <a:gd name="T64" fmla="*/ 2147483647 w 1700"/>
                <a:gd name="T65" fmla="*/ 2147483647 h 4763"/>
                <a:gd name="T66" fmla="*/ 2147483647 w 1700"/>
                <a:gd name="T67" fmla="*/ 2147483647 h 4763"/>
                <a:gd name="T68" fmla="*/ 2147483647 w 1700"/>
                <a:gd name="T69" fmla="*/ 2147483647 h 4763"/>
                <a:gd name="T70" fmla="*/ 2147483647 w 1700"/>
                <a:gd name="T71" fmla="*/ 2147483647 h 4763"/>
                <a:gd name="T72" fmla="*/ 2147483647 w 1700"/>
                <a:gd name="T73" fmla="*/ 2147483647 h 4763"/>
                <a:gd name="T74" fmla="*/ 2147483647 w 1700"/>
                <a:gd name="T75" fmla="*/ 2147483647 h 4763"/>
                <a:gd name="T76" fmla="*/ 2147483647 w 1700"/>
                <a:gd name="T77" fmla="*/ 2147483647 h 4763"/>
                <a:gd name="T78" fmla="*/ 2147483647 w 1700"/>
                <a:gd name="T79" fmla="*/ 2147483647 h 4763"/>
                <a:gd name="T80" fmla="*/ 2147483647 w 1700"/>
                <a:gd name="T81" fmla="*/ 2147483647 h 4763"/>
                <a:gd name="T82" fmla="*/ 2147483647 w 1700"/>
                <a:gd name="T83" fmla="*/ 2147483647 h 4763"/>
                <a:gd name="T84" fmla="*/ 2147483647 w 1700"/>
                <a:gd name="T85" fmla="*/ 2147483647 h 4763"/>
                <a:gd name="T86" fmla="*/ 2147483647 w 1700"/>
                <a:gd name="T87" fmla="*/ 2147483647 h 4763"/>
                <a:gd name="T88" fmla="*/ 2147483647 w 1700"/>
                <a:gd name="T89" fmla="*/ 2147483647 h 4763"/>
                <a:gd name="T90" fmla="*/ 0 w 1700"/>
                <a:gd name="T91" fmla="*/ 2147483647 h 4763"/>
                <a:gd name="T92" fmla="*/ 2147483647 w 1700"/>
                <a:gd name="T93" fmla="*/ 2147483647 h 4763"/>
                <a:gd name="T94" fmla="*/ 2147483647 w 1700"/>
                <a:gd name="T95" fmla="*/ 2147483647 h 4763"/>
                <a:gd name="T96" fmla="*/ 2147483647 w 1700"/>
                <a:gd name="T97" fmla="*/ 2147483647 h 4763"/>
                <a:gd name="T98" fmla="*/ 2147483647 w 1700"/>
                <a:gd name="T99" fmla="*/ 2147483647 h 4763"/>
                <a:gd name="T100" fmla="*/ 2147483647 w 1700"/>
                <a:gd name="T101" fmla="*/ 2147483647 h 4763"/>
                <a:gd name="T102" fmla="*/ 2147483647 w 1700"/>
                <a:gd name="T103" fmla="*/ 2147483647 h 4763"/>
                <a:gd name="T104" fmla="*/ 2147483647 w 1700"/>
                <a:gd name="T105" fmla="*/ 2147483647 h 4763"/>
                <a:gd name="T106" fmla="*/ 2147483647 w 1700"/>
                <a:gd name="T107" fmla="*/ 2147483647 h 4763"/>
                <a:gd name="T108" fmla="*/ 2147483647 w 1700"/>
                <a:gd name="T109" fmla="*/ 2147483647 h 4763"/>
                <a:gd name="T110" fmla="*/ 2147483647 w 1700"/>
                <a:gd name="T111" fmla="*/ 2147483647 h 4763"/>
                <a:gd name="T112" fmla="*/ 2147483647 w 1700"/>
                <a:gd name="T113" fmla="*/ 2147483647 h 4763"/>
                <a:gd name="T114" fmla="*/ 2147483647 w 1700"/>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00"/>
                <a:gd name="T175" fmla="*/ 0 h 4763"/>
                <a:gd name="T176" fmla="*/ 1700 w 1700"/>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00" h="4763">
                  <a:moveTo>
                    <a:pt x="638" y="216"/>
                  </a:moveTo>
                  <a:lnTo>
                    <a:pt x="638" y="216"/>
                  </a:lnTo>
                  <a:lnTo>
                    <a:pt x="634" y="235"/>
                  </a:lnTo>
                  <a:lnTo>
                    <a:pt x="630" y="255"/>
                  </a:lnTo>
                  <a:lnTo>
                    <a:pt x="628" y="276"/>
                  </a:lnTo>
                  <a:lnTo>
                    <a:pt x="628" y="297"/>
                  </a:lnTo>
                  <a:lnTo>
                    <a:pt x="628" y="368"/>
                  </a:lnTo>
                  <a:lnTo>
                    <a:pt x="628" y="393"/>
                  </a:lnTo>
                  <a:lnTo>
                    <a:pt x="632" y="418"/>
                  </a:lnTo>
                  <a:lnTo>
                    <a:pt x="637" y="442"/>
                  </a:lnTo>
                  <a:lnTo>
                    <a:pt x="645" y="465"/>
                  </a:lnTo>
                  <a:lnTo>
                    <a:pt x="653" y="486"/>
                  </a:lnTo>
                  <a:lnTo>
                    <a:pt x="665" y="506"/>
                  </a:lnTo>
                  <a:lnTo>
                    <a:pt x="677" y="525"/>
                  </a:lnTo>
                  <a:lnTo>
                    <a:pt x="691" y="542"/>
                  </a:lnTo>
                  <a:lnTo>
                    <a:pt x="706" y="558"/>
                  </a:lnTo>
                  <a:lnTo>
                    <a:pt x="723" y="571"/>
                  </a:lnTo>
                  <a:lnTo>
                    <a:pt x="741" y="583"/>
                  </a:lnTo>
                  <a:lnTo>
                    <a:pt x="759" y="594"/>
                  </a:lnTo>
                  <a:lnTo>
                    <a:pt x="778" y="602"/>
                  </a:lnTo>
                  <a:lnTo>
                    <a:pt x="799" y="607"/>
                  </a:lnTo>
                  <a:lnTo>
                    <a:pt x="819" y="611"/>
                  </a:lnTo>
                  <a:lnTo>
                    <a:pt x="841" y="612"/>
                  </a:lnTo>
                  <a:lnTo>
                    <a:pt x="863" y="611"/>
                  </a:lnTo>
                  <a:lnTo>
                    <a:pt x="883" y="607"/>
                  </a:lnTo>
                  <a:lnTo>
                    <a:pt x="904" y="602"/>
                  </a:lnTo>
                  <a:lnTo>
                    <a:pt x="922" y="594"/>
                  </a:lnTo>
                  <a:lnTo>
                    <a:pt x="941" y="583"/>
                  </a:lnTo>
                  <a:lnTo>
                    <a:pt x="959" y="571"/>
                  </a:lnTo>
                  <a:lnTo>
                    <a:pt x="975" y="558"/>
                  </a:lnTo>
                  <a:lnTo>
                    <a:pt x="990" y="542"/>
                  </a:lnTo>
                  <a:lnTo>
                    <a:pt x="1005" y="525"/>
                  </a:lnTo>
                  <a:lnTo>
                    <a:pt x="1017" y="506"/>
                  </a:lnTo>
                  <a:lnTo>
                    <a:pt x="1028" y="486"/>
                  </a:lnTo>
                  <a:lnTo>
                    <a:pt x="1036" y="465"/>
                  </a:lnTo>
                  <a:lnTo>
                    <a:pt x="1044" y="442"/>
                  </a:lnTo>
                  <a:lnTo>
                    <a:pt x="1050" y="418"/>
                  </a:lnTo>
                  <a:lnTo>
                    <a:pt x="1054" y="393"/>
                  </a:lnTo>
                  <a:lnTo>
                    <a:pt x="1054" y="368"/>
                  </a:lnTo>
                  <a:lnTo>
                    <a:pt x="1054" y="297"/>
                  </a:lnTo>
                  <a:lnTo>
                    <a:pt x="1054" y="274"/>
                  </a:lnTo>
                  <a:lnTo>
                    <a:pt x="1051" y="251"/>
                  </a:lnTo>
                  <a:lnTo>
                    <a:pt x="1046" y="230"/>
                  </a:lnTo>
                  <a:lnTo>
                    <a:pt x="1040" y="208"/>
                  </a:lnTo>
                  <a:lnTo>
                    <a:pt x="1032" y="198"/>
                  </a:lnTo>
                  <a:lnTo>
                    <a:pt x="1025" y="189"/>
                  </a:lnTo>
                  <a:lnTo>
                    <a:pt x="1017" y="179"/>
                  </a:lnTo>
                  <a:lnTo>
                    <a:pt x="1007" y="171"/>
                  </a:lnTo>
                  <a:lnTo>
                    <a:pt x="997" y="163"/>
                  </a:lnTo>
                  <a:lnTo>
                    <a:pt x="986" y="157"/>
                  </a:lnTo>
                  <a:lnTo>
                    <a:pt x="963" y="145"/>
                  </a:lnTo>
                  <a:lnTo>
                    <a:pt x="952" y="158"/>
                  </a:lnTo>
                  <a:lnTo>
                    <a:pt x="938" y="170"/>
                  </a:lnTo>
                  <a:lnTo>
                    <a:pt x="924" y="181"/>
                  </a:lnTo>
                  <a:lnTo>
                    <a:pt x="908" y="190"/>
                  </a:lnTo>
                  <a:lnTo>
                    <a:pt x="892" y="197"/>
                  </a:lnTo>
                  <a:lnTo>
                    <a:pt x="873" y="202"/>
                  </a:lnTo>
                  <a:lnTo>
                    <a:pt x="855" y="206"/>
                  </a:lnTo>
                  <a:lnTo>
                    <a:pt x="836" y="207"/>
                  </a:lnTo>
                  <a:lnTo>
                    <a:pt x="817" y="206"/>
                  </a:lnTo>
                  <a:lnTo>
                    <a:pt x="800" y="203"/>
                  </a:lnTo>
                  <a:lnTo>
                    <a:pt x="783" y="198"/>
                  </a:lnTo>
                  <a:lnTo>
                    <a:pt x="767" y="191"/>
                  </a:lnTo>
                  <a:lnTo>
                    <a:pt x="751" y="183"/>
                  </a:lnTo>
                  <a:lnTo>
                    <a:pt x="737" y="173"/>
                  </a:lnTo>
                  <a:lnTo>
                    <a:pt x="725" y="162"/>
                  </a:lnTo>
                  <a:lnTo>
                    <a:pt x="713" y="149"/>
                  </a:lnTo>
                  <a:lnTo>
                    <a:pt x="690" y="162"/>
                  </a:lnTo>
                  <a:lnTo>
                    <a:pt x="679" y="169"/>
                  </a:lnTo>
                  <a:lnTo>
                    <a:pt x="670" y="178"/>
                  </a:lnTo>
                  <a:lnTo>
                    <a:pt x="661" y="186"/>
                  </a:lnTo>
                  <a:lnTo>
                    <a:pt x="653" y="195"/>
                  </a:lnTo>
                  <a:lnTo>
                    <a:pt x="645" y="206"/>
                  </a:lnTo>
                  <a:lnTo>
                    <a:pt x="638" y="216"/>
                  </a:lnTo>
                  <a:close/>
                  <a:moveTo>
                    <a:pt x="841" y="0"/>
                  </a:moveTo>
                  <a:lnTo>
                    <a:pt x="841" y="0"/>
                  </a:lnTo>
                  <a:lnTo>
                    <a:pt x="868" y="1"/>
                  </a:lnTo>
                  <a:lnTo>
                    <a:pt x="896" y="5"/>
                  </a:lnTo>
                  <a:lnTo>
                    <a:pt x="921" y="13"/>
                  </a:lnTo>
                  <a:lnTo>
                    <a:pt x="946" y="24"/>
                  </a:lnTo>
                  <a:lnTo>
                    <a:pt x="969" y="36"/>
                  </a:lnTo>
                  <a:lnTo>
                    <a:pt x="991" y="50"/>
                  </a:lnTo>
                  <a:lnTo>
                    <a:pt x="1011" y="68"/>
                  </a:lnTo>
                  <a:lnTo>
                    <a:pt x="1031" y="88"/>
                  </a:lnTo>
                  <a:lnTo>
                    <a:pt x="1047" y="109"/>
                  </a:lnTo>
                  <a:lnTo>
                    <a:pt x="1063" y="131"/>
                  </a:lnTo>
                  <a:lnTo>
                    <a:pt x="1076" y="157"/>
                  </a:lnTo>
                  <a:lnTo>
                    <a:pt x="1087" y="182"/>
                  </a:lnTo>
                  <a:lnTo>
                    <a:pt x="1096" y="210"/>
                  </a:lnTo>
                  <a:lnTo>
                    <a:pt x="1103" y="238"/>
                  </a:lnTo>
                  <a:lnTo>
                    <a:pt x="1107" y="267"/>
                  </a:lnTo>
                  <a:lnTo>
                    <a:pt x="1107" y="296"/>
                  </a:lnTo>
                  <a:lnTo>
                    <a:pt x="1108" y="340"/>
                  </a:lnTo>
                  <a:lnTo>
                    <a:pt x="1108" y="369"/>
                  </a:lnTo>
                  <a:lnTo>
                    <a:pt x="1108" y="380"/>
                  </a:lnTo>
                  <a:lnTo>
                    <a:pt x="1107" y="385"/>
                  </a:lnTo>
                  <a:lnTo>
                    <a:pt x="1105" y="413"/>
                  </a:lnTo>
                  <a:lnTo>
                    <a:pt x="1101" y="441"/>
                  </a:lnTo>
                  <a:lnTo>
                    <a:pt x="1095" y="467"/>
                  </a:lnTo>
                  <a:lnTo>
                    <a:pt x="1086" y="494"/>
                  </a:lnTo>
                  <a:lnTo>
                    <a:pt x="1074" y="518"/>
                  </a:lnTo>
                  <a:lnTo>
                    <a:pt x="1060" y="542"/>
                  </a:lnTo>
                  <a:lnTo>
                    <a:pt x="1044" y="563"/>
                  </a:lnTo>
                  <a:lnTo>
                    <a:pt x="1027" y="583"/>
                  </a:lnTo>
                  <a:lnTo>
                    <a:pt x="1009" y="602"/>
                  </a:lnTo>
                  <a:lnTo>
                    <a:pt x="989" y="617"/>
                  </a:lnTo>
                  <a:lnTo>
                    <a:pt x="966" y="631"/>
                  </a:lnTo>
                  <a:lnTo>
                    <a:pt x="944" y="643"/>
                  </a:lnTo>
                  <a:lnTo>
                    <a:pt x="918" y="652"/>
                  </a:lnTo>
                  <a:lnTo>
                    <a:pt x="893" y="660"/>
                  </a:lnTo>
                  <a:lnTo>
                    <a:pt x="868" y="664"/>
                  </a:lnTo>
                  <a:lnTo>
                    <a:pt x="841" y="665"/>
                  </a:lnTo>
                  <a:lnTo>
                    <a:pt x="814" y="664"/>
                  </a:lnTo>
                  <a:lnTo>
                    <a:pt x="788" y="660"/>
                  </a:lnTo>
                  <a:lnTo>
                    <a:pt x="763" y="652"/>
                  </a:lnTo>
                  <a:lnTo>
                    <a:pt x="738" y="643"/>
                  </a:lnTo>
                  <a:lnTo>
                    <a:pt x="715" y="631"/>
                  </a:lnTo>
                  <a:lnTo>
                    <a:pt x="693" y="617"/>
                  </a:lnTo>
                  <a:lnTo>
                    <a:pt x="673" y="602"/>
                  </a:lnTo>
                  <a:lnTo>
                    <a:pt x="654" y="583"/>
                  </a:lnTo>
                  <a:lnTo>
                    <a:pt x="637" y="563"/>
                  </a:lnTo>
                  <a:lnTo>
                    <a:pt x="621" y="542"/>
                  </a:lnTo>
                  <a:lnTo>
                    <a:pt x="608" y="518"/>
                  </a:lnTo>
                  <a:lnTo>
                    <a:pt x="596" y="494"/>
                  </a:lnTo>
                  <a:lnTo>
                    <a:pt x="587" y="467"/>
                  </a:lnTo>
                  <a:lnTo>
                    <a:pt x="580" y="441"/>
                  </a:lnTo>
                  <a:lnTo>
                    <a:pt x="576" y="413"/>
                  </a:lnTo>
                  <a:lnTo>
                    <a:pt x="575" y="385"/>
                  </a:lnTo>
                  <a:lnTo>
                    <a:pt x="573" y="380"/>
                  </a:lnTo>
                  <a:lnTo>
                    <a:pt x="573" y="369"/>
                  </a:lnTo>
                  <a:lnTo>
                    <a:pt x="573" y="340"/>
                  </a:lnTo>
                  <a:lnTo>
                    <a:pt x="575" y="297"/>
                  </a:lnTo>
                  <a:lnTo>
                    <a:pt x="576" y="267"/>
                  </a:lnTo>
                  <a:lnTo>
                    <a:pt x="579" y="238"/>
                  </a:lnTo>
                  <a:lnTo>
                    <a:pt x="585" y="210"/>
                  </a:lnTo>
                  <a:lnTo>
                    <a:pt x="595" y="182"/>
                  </a:lnTo>
                  <a:lnTo>
                    <a:pt x="605" y="157"/>
                  </a:lnTo>
                  <a:lnTo>
                    <a:pt x="618" y="131"/>
                  </a:lnTo>
                  <a:lnTo>
                    <a:pt x="634" y="109"/>
                  </a:lnTo>
                  <a:lnTo>
                    <a:pt x="650" y="88"/>
                  </a:lnTo>
                  <a:lnTo>
                    <a:pt x="670" y="69"/>
                  </a:lnTo>
                  <a:lnTo>
                    <a:pt x="690" y="50"/>
                  </a:lnTo>
                  <a:lnTo>
                    <a:pt x="713" y="36"/>
                  </a:lnTo>
                  <a:lnTo>
                    <a:pt x="735" y="24"/>
                  </a:lnTo>
                  <a:lnTo>
                    <a:pt x="760" y="13"/>
                  </a:lnTo>
                  <a:lnTo>
                    <a:pt x="786" y="5"/>
                  </a:lnTo>
                  <a:lnTo>
                    <a:pt x="814" y="1"/>
                  </a:lnTo>
                  <a:lnTo>
                    <a:pt x="841" y="0"/>
                  </a:lnTo>
                  <a:close/>
                  <a:moveTo>
                    <a:pt x="1417" y="3144"/>
                  </a:moveTo>
                  <a:lnTo>
                    <a:pt x="1538" y="3046"/>
                  </a:lnTo>
                  <a:lnTo>
                    <a:pt x="1600" y="2791"/>
                  </a:lnTo>
                  <a:lnTo>
                    <a:pt x="1655" y="2791"/>
                  </a:lnTo>
                  <a:lnTo>
                    <a:pt x="1585" y="3077"/>
                  </a:lnTo>
                  <a:lnTo>
                    <a:pt x="1413" y="3215"/>
                  </a:lnTo>
                  <a:lnTo>
                    <a:pt x="1343" y="4763"/>
                  </a:lnTo>
                  <a:lnTo>
                    <a:pt x="897" y="4763"/>
                  </a:lnTo>
                  <a:lnTo>
                    <a:pt x="897" y="2726"/>
                  </a:lnTo>
                  <a:lnTo>
                    <a:pt x="844" y="2726"/>
                  </a:lnTo>
                  <a:lnTo>
                    <a:pt x="844" y="4763"/>
                  </a:lnTo>
                  <a:lnTo>
                    <a:pt x="398" y="4763"/>
                  </a:lnTo>
                  <a:lnTo>
                    <a:pt x="326" y="3217"/>
                  </a:lnTo>
                  <a:lnTo>
                    <a:pt x="153" y="3077"/>
                  </a:lnTo>
                  <a:lnTo>
                    <a:pt x="82" y="2791"/>
                  </a:lnTo>
                  <a:lnTo>
                    <a:pt x="137" y="2791"/>
                  </a:lnTo>
                  <a:lnTo>
                    <a:pt x="199" y="3046"/>
                  </a:lnTo>
                  <a:lnTo>
                    <a:pt x="322" y="3147"/>
                  </a:lnTo>
                  <a:lnTo>
                    <a:pt x="304" y="2738"/>
                  </a:lnTo>
                  <a:lnTo>
                    <a:pt x="300" y="2738"/>
                  </a:lnTo>
                  <a:lnTo>
                    <a:pt x="0" y="2738"/>
                  </a:lnTo>
                  <a:lnTo>
                    <a:pt x="0" y="1086"/>
                  </a:lnTo>
                  <a:lnTo>
                    <a:pt x="1" y="1065"/>
                  </a:lnTo>
                  <a:lnTo>
                    <a:pt x="4" y="1045"/>
                  </a:lnTo>
                  <a:lnTo>
                    <a:pt x="9" y="1028"/>
                  </a:lnTo>
                  <a:lnTo>
                    <a:pt x="16" y="1012"/>
                  </a:lnTo>
                  <a:lnTo>
                    <a:pt x="25" y="997"/>
                  </a:lnTo>
                  <a:lnTo>
                    <a:pt x="35" y="983"/>
                  </a:lnTo>
                  <a:lnTo>
                    <a:pt x="46" y="971"/>
                  </a:lnTo>
                  <a:lnTo>
                    <a:pt x="60" y="959"/>
                  </a:lnTo>
                  <a:lnTo>
                    <a:pt x="74" y="948"/>
                  </a:lnTo>
                  <a:lnTo>
                    <a:pt x="89" y="939"/>
                  </a:lnTo>
                  <a:lnTo>
                    <a:pt x="106" y="929"/>
                  </a:lnTo>
                  <a:lnTo>
                    <a:pt x="123" y="920"/>
                  </a:lnTo>
                  <a:lnTo>
                    <a:pt x="162" y="904"/>
                  </a:lnTo>
                  <a:lnTo>
                    <a:pt x="202" y="890"/>
                  </a:lnTo>
                  <a:lnTo>
                    <a:pt x="606" y="742"/>
                  </a:lnTo>
                  <a:lnTo>
                    <a:pt x="738" y="1522"/>
                  </a:lnTo>
                  <a:lnTo>
                    <a:pt x="806" y="916"/>
                  </a:lnTo>
                  <a:lnTo>
                    <a:pt x="790" y="908"/>
                  </a:lnTo>
                  <a:lnTo>
                    <a:pt x="774" y="898"/>
                  </a:lnTo>
                  <a:lnTo>
                    <a:pt x="760" y="886"/>
                  </a:lnTo>
                  <a:lnTo>
                    <a:pt x="750" y="871"/>
                  </a:lnTo>
                  <a:lnTo>
                    <a:pt x="851" y="775"/>
                  </a:lnTo>
                  <a:lnTo>
                    <a:pt x="952" y="871"/>
                  </a:lnTo>
                  <a:lnTo>
                    <a:pt x="940" y="886"/>
                  </a:lnTo>
                  <a:lnTo>
                    <a:pt x="926" y="898"/>
                  </a:lnTo>
                  <a:lnTo>
                    <a:pt x="912" y="908"/>
                  </a:lnTo>
                  <a:lnTo>
                    <a:pt x="894" y="916"/>
                  </a:lnTo>
                  <a:lnTo>
                    <a:pt x="962" y="1522"/>
                  </a:lnTo>
                  <a:lnTo>
                    <a:pt x="1095" y="742"/>
                  </a:lnTo>
                  <a:lnTo>
                    <a:pt x="1500" y="890"/>
                  </a:lnTo>
                  <a:lnTo>
                    <a:pt x="1539" y="904"/>
                  </a:lnTo>
                  <a:lnTo>
                    <a:pt x="1577" y="920"/>
                  </a:lnTo>
                  <a:lnTo>
                    <a:pt x="1594" y="929"/>
                  </a:lnTo>
                  <a:lnTo>
                    <a:pt x="1611" y="939"/>
                  </a:lnTo>
                  <a:lnTo>
                    <a:pt x="1627" y="948"/>
                  </a:lnTo>
                  <a:lnTo>
                    <a:pt x="1642" y="959"/>
                  </a:lnTo>
                  <a:lnTo>
                    <a:pt x="1654" y="971"/>
                  </a:lnTo>
                  <a:lnTo>
                    <a:pt x="1665" y="983"/>
                  </a:lnTo>
                  <a:lnTo>
                    <a:pt x="1676" y="997"/>
                  </a:lnTo>
                  <a:lnTo>
                    <a:pt x="1684" y="1012"/>
                  </a:lnTo>
                  <a:lnTo>
                    <a:pt x="1691" y="1028"/>
                  </a:lnTo>
                  <a:lnTo>
                    <a:pt x="1696" y="1045"/>
                  </a:lnTo>
                  <a:lnTo>
                    <a:pt x="1699" y="1065"/>
                  </a:lnTo>
                  <a:lnTo>
                    <a:pt x="1700" y="1086"/>
                  </a:lnTo>
                  <a:lnTo>
                    <a:pt x="1700" y="2738"/>
                  </a:lnTo>
                  <a:lnTo>
                    <a:pt x="1436" y="2738"/>
                  </a:lnTo>
                  <a:lnTo>
                    <a:pt x="1417" y="3144"/>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000000"/>
                </a:solidFill>
              </a:endParaRPr>
            </a:p>
          </p:txBody>
        </p:sp>
        <p:sp>
          <p:nvSpPr>
            <p:cNvPr id="12" name="Freeform 63"/>
            <p:cNvSpPr>
              <a:spLocks noChangeAspect="1" noEditPoints="1"/>
            </p:cNvSpPr>
            <p:nvPr/>
          </p:nvSpPr>
          <p:spPr bwMode="gray">
            <a:xfrm>
              <a:off x="6642844" y="4932759"/>
              <a:ext cx="113415" cy="359148"/>
            </a:xfrm>
            <a:custGeom>
              <a:avLst/>
              <a:gdLst>
                <a:gd name="T0" fmla="*/ 2147483647 w 1510"/>
                <a:gd name="T1" fmla="*/ 2147483647 h 4763"/>
                <a:gd name="T2" fmla="*/ 2147483647 w 1510"/>
                <a:gd name="T3" fmla="*/ 2147483647 h 4763"/>
                <a:gd name="T4" fmla="*/ 2147483647 w 1510"/>
                <a:gd name="T5" fmla="*/ 2147483647 h 4763"/>
                <a:gd name="T6" fmla="*/ 2147483647 w 1510"/>
                <a:gd name="T7" fmla="*/ 2147483647 h 4763"/>
                <a:gd name="T8" fmla="*/ 2147483647 w 1510"/>
                <a:gd name="T9" fmla="*/ 2147483647 h 4763"/>
                <a:gd name="T10" fmla="*/ 2147483647 w 1510"/>
                <a:gd name="T11" fmla="*/ 2147483647 h 4763"/>
                <a:gd name="T12" fmla="*/ 2147483647 w 1510"/>
                <a:gd name="T13" fmla="*/ 2147483647 h 4763"/>
                <a:gd name="T14" fmla="*/ 2147483647 w 1510"/>
                <a:gd name="T15" fmla="*/ 2147483647 h 4763"/>
                <a:gd name="T16" fmla="*/ 2147483647 w 1510"/>
                <a:gd name="T17" fmla="*/ 2147483647 h 4763"/>
                <a:gd name="T18" fmla="*/ 2147483647 w 1510"/>
                <a:gd name="T19" fmla="*/ 2147483647 h 4763"/>
                <a:gd name="T20" fmla="*/ 2147483647 w 1510"/>
                <a:gd name="T21" fmla="*/ 2147483647 h 4763"/>
                <a:gd name="T22" fmla="*/ 2147483647 w 1510"/>
                <a:gd name="T23" fmla="*/ 2147483647 h 4763"/>
                <a:gd name="T24" fmla="*/ 2147483647 w 1510"/>
                <a:gd name="T25" fmla="*/ 2147483647 h 4763"/>
                <a:gd name="T26" fmla="*/ 2147483647 w 1510"/>
                <a:gd name="T27" fmla="*/ 2147483647 h 4763"/>
                <a:gd name="T28" fmla="*/ 2147483647 w 1510"/>
                <a:gd name="T29" fmla="*/ 2147483647 h 4763"/>
                <a:gd name="T30" fmla="*/ 2147483647 w 1510"/>
                <a:gd name="T31" fmla="*/ 2147483647 h 4763"/>
                <a:gd name="T32" fmla="*/ 2147483647 w 1510"/>
                <a:gd name="T33" fmla="*/ 2147483647 h 4763"/>
                <a:gd name="T34" fmla="*/ 2147483647 w 1510"/>
                <a:gd name="T35" fmla="*/ 2147483647 h 4763"/>
                <a:gd name="T36" fmla="*/ 2147483647 w 1510"/>
                <a:gd name="T37" fmla="*/ 2147483647 h 4763"/>
                <a:gd name="T38" fmla="*/ 2147483647 w 1510"/>
                <a:gd name="T39" fmla="*/ 2147483647 h 4763"/>
                <a:gd name="T40" fmla="*/ 2147483647 w 1510"/>
                <a:gd name="T41" fmla="*/ 2147483647 h 4763"/>
                <a:gd name="T42" fmla="*/ 2147483647 w 1510"/>
                <a:gd name="T43" fmla="*/ 2147483647 h 4763"/>
                <a:gd name="T44" fmla="*/ 2147483647 w 1510"/>
                <a:gd name="T45" fmla="*/ 2147483647 h 4763"/>
                <a:gd name="T46" fmla="*/ 2147483647 w 1510"/>
                <a:gd name="T47" fmla="*/ 2147483647 h 4763"/>
                <a:gd name="T48" fmla="*/ 2147483647 w 1510"/>
                <a:gd name="T49" fmla="*/ 2147483647 h 4763"/>
                <a:gd name="T50" fmla="*/ 2147483647 w 1510"/>
                <a:gd name="T51" fmla="*/ 2147483647 h 4763"/>
                <a:gd name="T52" fmla="*/ 2147483647 w 1510"/>
                <a:gd name="T53" fmla="*/ 2147483647 h 4763"/>
                <a:gd name="T54" fmla="*/ 2147483647 w 1510"/>
                <a:gd name="T55" fmla="*/ 2147483647 h 4763"/>
                <a:gd name="T56" fmla="*/ 2147483647 w 1510"/>
                <a:gd name="T57" fmla="*/ 2147483647 h 4763"/>
                <a:gd name="T58" fmla="*/ 2147483647 w 1510"/>
                <a:gd name="T59" fmla="*/ 2147483647 h 4763"/>
                <a:gd name="T60" fmla="*/ 2147483647 w 1510"/>
                <a:gd name="T61" fmla="*/ 2147483647 h 4763"/>
                <a:gd name="T62" fmla="*/ 2147483647 w 1510"/>
                <a:gd name="T63" fmla="*/ 2147483647 h 4763"/>
                <a:gd name="T64" fmla="*/ 2147483647 w 1510"/>
                <a:gd name="T65" fmla="*/ 2147483647 h 4763"/>
                <a:gd name="T66" fmla="*/ 2147483647 w 1510"/>
                <a:gd name="T67" fmla="*/ 2147483647 h 4763"/>
                <a:gd name="T68" fmla="*/ 2147483647 w 1510"/>
                <a:gd name="T69" fmla="*/ 2147483647 h 4763"/>
                <a:gd name="T70" fmla="*/ 2147483647 w 1510"/>
                <a:gd name="T71" fmla="*/ 2147483647 h 4763"/>
                <a:gd name="T72" fmla="*/ 2147483647 w 1510"/>
                <a:gd name="T73" fmla="*/ 2147483647 h 4763"/>
                <a:gd name="T74" fmla="*/ 2147483647 w 1510"/>
                <a:gd name="T75" fmla="*/ 2147483647 h 4763"/>
                <a:gd name="T76" fmla="*/ 2147483647 w 1510"/>
                <a:gd name="T77" fmla="*/ 2147483647 h 4763"/>
                <a:gd name="T78" fmla="*/ 2147483647 w 1510"/>
                <a:gd name="T79" fmla="*/ 2147483647 h 4763"/>
                <a:gd name="T80" fmla="*/ 2147483647 w 1510"/>
                <a:gd name="T81" fmla="*/ 2147483647 h 4763"/>
                <a:gd name="T82" fmla="*/ 2147483647 w 1510"/>
                <a:gd name="T83" fmla="*/ 2147483647 h 4763"/>
                <a:gd name="T84" fmla="*/ 2147483647 w 1510"/>
                <a:gd name="T85" fmla="*/ 2147483647 h 4763"/>
                <a:gd name="T86" fmla="*/ 2147483647 w 1510"/>
                <a:gd name="T87" fmla="*/ 2147483647 h 4763"/>
                <a:gd name="T88" fmla="*/ 2147483647 w 1510"/>
                <a:gd name="T89" fmla="*/ 2147483647 h 4763"/>
                <a:gd name="T90" fmla="*/ 2147483647 w 1510"/>
                <a:gd name="T91" fmla="*/ 2147483647 h 4763"/>
                <a:gd name="T92" fmla="*/ 2147483647 w 1510"/>
                <a:gd name="T93" fmla="*/ 2147483647 h 4763"/>
                <a:gd name="T94" fmla="*/ 2147483647 w 1510"/>
                <a:gd name="T95" fmla="*/ 2147483647 h 4763"/>
                <a:gd name="T96" fmla="*/ 2147483647 w 1510"/>
                <a:gd name="T97" fmla="*/ 2147483647 h 4763"/>
                <a:gd name="T98" fmla="*/ 2147483647 w 1510"/>
                <a:gd name="T99" fmla="*/ 2147483647 h 4763"/>
                <a:gd name="T100" fmla="*/ 2147483647 w 1510"/>
                <a:gd name="T101" fmla="*/ 2147483647 h 4763"/>
                <a:gd name="T102" fmla="*/ 2147483647 w 1510"/>
                <a:gd name="T103" fmla="*/ 2147483647 h 4763"/>
                <a:gd name="T104" fmla="*/ 2147483647 w 1510"/>
                <a:gd name="T105" fmla="*/ 2147483647 h 4763"/>
                <a:gd name="T106" fmla="*/ 2147483647 w 1510"/>
                <a:gd name="T107" fmla="*/ 2147483647 h 4763"/>
                <a:gd name="T108" fmla="*/ 2147483647 w 1510"/>
                <a:gd name="T109" fmla="*/ 2147483647 h 4763"/>
                <a:gd name="T110" fmla="*/ 2147483647 w 1510"/>
                <a:gd name="T111" fmla="*/ 2147483647 h 4763"/>
                <a:gd name="T112" fmla="*/ 2147483647 w 1510"/>
                <a:gd name="T113" fmla="*/ 2147483647 h 4763"/>
                <a:gd name="T114" fmla="*/ 2147483647 w 1510"/>
                <a:gd name="T115" fmla="*/ 2147483647 h 4763"/>
                <a:gd name="T116" fmla="*/ 2147483647 w 1510"/>
                <a:gd name="T117" fmla="*/ 2147483647 h 4763"/>
                <a:gd name="T118" fmla="*/ 2147483647 w 1510"/>
                <a:gd name="T119" fmla="*/ 2147483647 h 4763"/>
                <a:gd name="T120" fmla="*/ 2147483647 w 1510"/>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10"/>
                <a:gd name="T184" fmla="*/ 0 h 4763"/>
                <a:gd name="T185" fmla="*/ 1510 w 1510"/>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10" h="4763">
                  <a:moveTo>
                    <a:pt x="544" y="802"/>
                  </a:moveTo>
                  <a:lnTo>
                    <a:pt x="749" y="1234"/>
                  </a:lnTo>
                  <a:lnTo>
                    <a:pt x="951" y="806"/>
                  </a:lnTo>
                  <a:lnTo>
                    <a:pt x="1157" y="841"/>
                  </a:lnTo>
                  <a:lnTo>
                    <a:pt x="1184" y="846"/>
                  </a:lnTo>
                  <a:lnTo>
                    <a:pt x="1212" y="852"/>
                  </a:lnTo>
                  <a:lnTo>
                    <a:pt x="1238" y="860"/>
                  </a:lnTo>
                  <a:lnTo>
                    <a:pt x="1264" y="870"/>
                  </a:lnTo>
                  <a:lnTo>
                    <a:pt x="1287" y="879"/>
                  </a:lnTo>
                  <a:lnTo>
                    <a:pt x="1311" y="892"/>
                  </a:lnTo>
                  <a:lnTo>
                    <a:pt x="1333" y="907"/>
                  </a:lnTo>
                  <a:lnTo>
                    <a:pt x="1353" y="922"/>
                  </a:lnTo>
                  <a:lnTo>
                    <a:pt x="1371" y="941"/>
                  </a:lnTo>
                  <a:lnTo>
                    <a:pt x="1388" y="960"/>
                  </a:lnTo>
                  <a:lnTo>
                    <a:pt x="1403" y="984"/>
                  </a:lnTo>
                  <a:lnTo>
                    <a:pt x="1414" y="1007"/>
                  </a:lnTo>
                  <a:lnTo>
                    <a:pt x="1423" y="1034"/>
                  </a:lnTo>
                  <a:lnTo>
                    <a:pt x="1432" y="1065"/>
                  </a:lnTo>
                  <a:lnTo>
                    <a:pt x="1436" y="1096"/>
                  </a:lnTo>
                  <a:lnTo>
                    <a:pt x="1437" y="1131"/>
                  </a:lnTo>
                  <a:lnTo>
                    <a:pt x="1437" y="2330"/>
                  </a:lnTo>
                  <a:lnTo>
                    <a:pt x="1301" y="2735"/>
                  </a:lnTo>
                  <a:lnTo>
                    <a:pt x="1510" y="3779"/>
                  </a:lnTo>
                  <a:lnTo>
                    <a:pt x="1157" y="3779"/>
                  </a:lnTo>
                  <a:lnTo>
                    <a:pt x="1021" y="4763"/>
                  </a:lnTo>
                  <a:lnTo>
                    <a:pt x="910" y="4763"/>
                  </a:lnTo>
                  <a:lnTo>
                    <a:pt x="1046" y="3779"/>
                  </a:lnTo>
                  <a:lnTo>
                    <a:pt x="787" y="3779"/>
                  </a:lnTo>
                  <a:lnTo>
                    <a:pt x="782" y="4763"/>
                  </a:lnTo>
                  <a:lnTo>
                    <a:pt x="727" y="4763"/>
                  </a:lnTo>
                  <a:lnTo>
                    <a:pt x="732" y="3779"/>
                  </a:lnTo>
                  <a:lnTo>
                    <a:pt x="464" y="3779"/>
                  </a:lnTo>
                  <a:lnTo>
                    <a:pt x="599" y="4763"/>
                  </a:lnTo>
                  <a:lnTo>
                    <a:pt x="488" y="4763"/>
                  </a:lnTo>
                  <a:lnTo>
                    <a:pt x="353" y="3779"/>
                  </a:lnTo>
                  <a:lnTo>
                    <a:pt x="0" y="3779"/>
                  </a:lnTo>
                  <a:lnTo>
                    <a:pt x="213" y="2737"/>
                  </a:lnTo>
                  <a:lnTo>
                    <a:pt x="73" y="2331"/>
                  </a:lnTo>
                  <a:lnTo>
                    <a:pt x="73" y="1131"/>
                  </a:lnTo>
                  <a:lnTo>
                    <a:pt x="74" y="1098"/>
                  </a:lnTo>
                  <a:lnTo>
                    <a:pt x="78" y="1066"/>
                  </a:lnTo>
                  <a:lnTo>
                    <a:pt x="84" y="1037"/>
                  </a:lnTo>
                  <a:lnTo>
                    <a:pt x="93" y="1011"/>
                  </a:lnTo>
                  <a:lnTo>
                    <a:pt x="104" y="988"/>
                  </a:lnTo>
                  <a:lnTo>
                    <a:pt x="118" y="966"/>
                  </a:lnTo>
                  <a:lnTo>
                    <a:pt x="133" y="947"/>
                  </a:lnTo>
                  <a:lnTo>
                    <a:pt x="151" y="929"/>
                  </a:lnTo>
                  <a:lnTo>
                    <a:pt x="170" y="912"/>
                  </a:lnTo>
                  <a:lnTo>
                    <a:pt x="191" y="898"/>
                  </a:lnTo>
                  <a:lnTo>
                    <a:pt x="213" y="886"/>
                  </a:lnTo>
                  <a:lnTo>
                    <a:pt x="236" y="875"/>
                  </a:lnTo>
                  <a:lnTo>
                    <a:pt x="260" y="866"/>
                  </a:lnTo>
                  <a:lnTo>
                    <a:pt x="284" y="857"/>
                  </a:lnTo>
                  <a:lnTo>
                    <a:pt x="311" y="850"/>
                  </a:lnTo>
                  <a:lnTo>
                    <a:pt x="337" y="845"/>
                  </a:lnTo>
                  <a:lnTo>
                    <a:pt x="544" y="802"/>
                  </a:lnTo>
                  <a:close/>
                  <a:moveTo>
                    <a:pt x="956" y="919"/>
                  </a:moveTo>
                  <a:lnTo>
                    <a:pt x="747" y="1360"/>
                  </a:lnTo>
                  <a:lnTo>
                    <a:pt x="536" y="915"/>
                  </a:lnTo>
                  <a:lnTo>
                    <a:pt x="365" y="945"/>
                  </a:lnTo>
                  <a:lnTo>
                    <a:pt x="348" y="949"/>
                  </a:lnTo>
                  <a:lnTo>
                    <a:pt x="330" y="953"/>
                  </a:lnTo>
                  <a:lnTo>
                    <a:pt x="312" y="959"/>
                  </a:lnTo>
                  <a:lnTo>
                    <a:pt x="295" y="966"/>
                  </a:lnTo>
                  <a:lnTo>
                    <a:pt x="279" y="973"/>
                  </a:lnTo>
                  <a:lnTo>
                    <a:pt x="264" y="981"/>
                  </a:lnTo>
                  <a:lnTo>
                    <a:pt x="250" y="991"/>
                  </a:lnTo>
                  <a:lnTo>
                    <a:pt x="236" y="1002"/>
                  </a:lnTo>
                  <a:lnTo>
                    <a:pt x="225" y="1012"/>
                  </a:lnTo>
                  <a:lnTo>
                    <a:pt x="214" y="1026"/>
                  </a:lnTo>
                  <a:lnTo>
                    <a:pt x="205" y="1040"/>
                  </a:lnTo>
                  <a:lnTo>
                    <a:pt x="196" y="1056"/>
                  </a:lnTo>
                  <a:lnTo>
                    <a:pt x="191" y="1073"/>
                  </a:lnTo>
                  <a:lnTo>
                    <a:pt x="185" y="1091"/>
                  </a:lnTo>
                  <a:lnTo>
                    <a:pt x="183" y="1110"/>
                  </a:lnTo>
                  <a:lnTo>
                    <a:pt x="183" y="1131"/>
                  </a:lnTo>
                  <a:lnTo>
                    <a:pt x="183" y="2253"/>
                  </a:lnTo>
                  <a:lnTo>
                    <a:pt x="361" y="2253"/>
                  </a:lnTo>
                  <a:lnTo>
                    <a:pt x="404" y="2069"/>
                  </a:lnTo>
                  <a:lnTo>
                    <a:pt x="404" y="1504"/>
                  </a:lnTo>
                  <a:lnTo>
                    <a:pt x="334" y="1184"/>
                  </a:lnTo>
                  <a:lnTo>
                    <a:pt x="387" y="1172"/>
                  </a:lnTo>
                  <a:lnTo>
                    <a:pt x="459" y="1499"/>
                  </a:lnTo>
                  <a:lnTo>
                    <a:pt x="459" y="2072"/>
                  </a:lnTo>
                  <a:lnTo>
                    <a:pt x="1050" y="2072"/>
                  </a:lnTo>
                  <a:lnTo>
                    <a:pt x="1050" y="1499"/>
                  </a:lnTo>
                  <a:lnTo>
                    <a:pt x="1123" y="1172"/>
                  </a:lnTo>
                  <a:lnTo>
                    <a:pt x="1176" y="1184"/>
                  </a:lnTo>
                  <a:lnTo>
                    <a:pt x="1105" y="1504"/>
                  </a:lnTo>
                  <a:lnTo>
                    <a:pt x="1105" y="2069"/>
                  </a:lnTo>
                  <a:lnTo>
                    <a:pt x="1147" y="2253"/>
                  </a:lnTo>
                  <a:lnTo>
                    <a:pt x="1327" y="2253"/>
                  </a:lnTo>
                  <a:lnTo>
                    <a:pt x="1327" y="1131"/>
                  </a:lnTo>
                  <a:lnTo>
                    <a:pt x="1326" y="1110"/>
                  </a:lnTo>
                  <a:lnTo>
                    <a:pt x="1323" y="1092"/>
                  </a:lnTo>
                  <a:lnTo>
                    <a:pt x="1319" y="1073"/>
                  </a:lnTo>
                  <a:lnTo>
                    <a:pt x="1314" y="1056"/>
                  </a:lnTo>
                  <a:lnTo>
                    <a:pt x="1305" y="1041"/>
                  </a:lnTo>
                  <a:lnTo>
                    <a:pt x="1297" y="1028"/>
                  </a:lnTo>
                  <a:lnTo>
                    <a:pt x="1286" y="1014"/>
                  </a:lnTo>
                  <a:lnTo>
                    <a:pt x="1275" y="1002"/>
                  </a:lnTo>
                  <a:lnTo>
                    <a:pt x="1263" y="992"/>
                  </a:lnTo>
                  <a:lnTo>
                    <a:pt x="1249" y="982"/>
                  </a:lnTo>
                  <a:lnTo>
                    <a:pt x="1234" y="973"/>
                  </a:lnTo>
                  <a:lnTo>
                    <a:pt x="1219" y="966"/>
                  </a:lnTo>
                  <a:lnTo>
                    <a:pt x="1202" y="959"/>
                  </a:lnTo>
                  <a:lnTo>
                    <a:pt x="1186" y="955"/>
                  </a:lnTo>
                  <a:lnTo>
                    <a:pt x="1169" y="951"/>
                  </a:lnTo>
                  <a:lnTo>
                    <a:pt x="1151" y="947"/>
                  </a:lnTo>
                  <a:lnTo>
                    <a:pt x="956" y="919"/>
                  </a:lnTo>
                  <a:close/>
                  <a:moveTo>
                    <a:pt x="349" y="2308"/>
                  </a:moveTo>
                  <a:lnTo>
                    <a:pt x="183" y="2308"/>
                  </a:lnTo>
                  <a:lnTo>
                    <a:pt x="183" y="2311"/>
                  </a:lnTo>
                  <a:lnTo>
                    <a:pt x="282" y="2595"/>
                  </a:lnTo>
                  <a:lnTo>
                    <a:pt x="349" y="2308"/>
                  </a:lnTo>
                  <a:close/>
                  <a:moveTo>
                    <a:pt x="1327" y="2308"/>
                  </a:moveTo>
                  <a:lnTo>
                    <a:pt x="1160" y="2308"/>
                  </a:lnTo>
                  <a:lnTo>
                    <a:pt x="1227" y="2607"/>
                  </a:lnTo>
                  <a:lnTo>
                    <a:pt x="1327" y="2311"/>
                  </a:lnTo>
                  <a:lnTo>
                    <a:pt x="1327" y="2308"/>
                  </a:lnTo>
                  <a:close/>
                  <a:moveTo>
                    <a:pt x="1085" y="372"/>
                  </a:moveTo>
                  <a:lnTo>
                    <a:pt x="1085" y="445"/>
                  </a:lnTo>
                  <a:lnTo>
                    <a:pt x="1084" y="473"/>
                  </a:lnTo>
                  <a:lnTo>
                    <a:pt x="1081" y="496"/>
                  </a:lnTo>
                  <a:lnTo>
                    <a:pt x="1079" y="506"/>
                  </a:lnTo>
                  <a:lnTo>
                    <a:pt x="1076" y="515"/>
                  </a:lnTo>
                  <a:lnTo>
                    <a:pt x="1072" y="522"/>
                  </a:lnTo>
                  <a:lnTo>
                    <a:pt x="1068" y="529"/>
                  </a:lnTo>
                  <a:lnTo>
                    <a:pt x="1063" y="534"/>
                  </a:lnTo>
                  <a:lnTo>
                    <a:pt x="1058" y="540"/>
                  </a:lnTo>
                  <a:lnTo>
                    <a:pt x="1052" y="544"/>
                  </a:lnTo>
                  <a:lnTo>
                    <a:pt x="1047" y="547"/>
                  </a:lnTo>
                  <a:lnTo>
                    <a:pt x="1033" y="551"/>
                  </a:lnTo>
                  <a:lnTo>
                    <a:pt x="1018" y="552"/>
                  </a:lnTo>
                  <a:lnTo>
                    <a:pt x="1010" y="577"/>
                  </a:lnTo>
                  <a:lnTo>
                    <a:pt x="1025" y="587"/>
                  </a:lnTo>
                  <a:lnTo>
                    <a:pt x="1041" y="596"/>
                  </a:lnTo>
                  <a:lnTo>
                    <a:pt x="1058" y="603"/>
                  </a:lnTo>
                  <a:lnTo>
                    <a:pt x="1074" y="609"/>
                  </a:lnTo>
                  <a:lnTo>
                    <a:pt x="1092" y="614"/>
                  </a:lnTo>
                  <a:lnTo>
                    <a:pt x="1112" y="617"/>
                  </a:lnTo>
                  <a:lnTo>
                    <a:pt x="1129" y="618"/>
                  </a:lnTo>
                  <a:lnTo>
                    <a:pt x="1149" y="617"/>
                  </a:lnTo>
                  <a:lnTo>
                    <a:pt x="1151" y="617"/>
                  </a:lnTo>
                  <a:lnTo>
                    <a:pt x="1149" y="631"/>
                  </a:lnTo>
                  <a:lnTo>
                    <a:pt x="1146" y="643"/>
                  </a:lnTo>
                  <a:lnTo>
                    <a:pt x="1140" y="654"/>
                  </a:lnTo>
                  <a:lnTo>
                    <a:pt x="1135" y="666"/>
                  </a:lnTo>
                  <a:lnTo>
                    <a:pt x="1128" y="677"/>
                  </a:lnTo>
                  <a:lnTo>
                    <a:pt x="1120" y="687"/>
                  </a:lnTo>
                  <a:lnTo>
                    <a:pt x="1112" y="697"/>
                  </a:lnTo>
                  <a:lnTo>
                    <a:pt x="1102" y="706"/>
                  </a:lnTo>
                  <a:lnTo>
                    <a:pt x="1091" y="714"/>
                  </a:lnTo>
                  <a:lnTo>
                    <a:pt x="1080" y="721"/>
                  </a:lnTo>
                  <a:lnTo>
                    <a:pt x="1068" y="728"/>
                  </a:lnTo>
                  <a:lnTo>
                    <a:pt x="1055" y="734"/>
                  </a:lnTo>
                  <a:lnTo>
                    <a:pt x="1041" y="739"/>
                  </a:lnTo>
                  <a:lnTo>
                    <a:pt x="1028" y="743"/>
                  </a:lnTo>
                  <a:lnTo>
                    <a:pt x="1014" y="746"/>
                  </a:lnTo>
                  <a:lnTo>
                    <a:pt x="999" y="747"/>
                  </a:lnTo>
                  <a:lnTo>
                    <a:pt x="984" y="747"/>
                  </a:lnTo>
                  <a:lnTo>
                    <a:pt x="970" y="747"/>
                  </a:lnTo>
                  <a:lnTo>
                    <a:pt x="958" y="746"/>
                  </a:lnTo>
                  <a:lnTo>
                    <a:pt x="944" y="743"/>
                  </a:lnTo>
                  <a:lnTo>
                    <a:pt x="930" y="740"/>
                  </a:lnTo>
                  <a:lnTo>
                    <a:pt x="918" y="736"/>
                  </a:lnTo>
                  <a:lnTo>
                    <a:pt x="905" y="732"/>
                  </a:lnTo>
                  <a:lnTo>
                    <a:pt x="893" y="727"/>
                  </a:lnTo>
                  <a:lnTo>
                    <a:pt x="878" y="736"/>
                  </a:lnTo>
                  <a:lnTo>
                    <a:pt x="861" y="743"/>
                  </a:lnTo>
                  <a:lnTo>
                    <a:pt x="846" y="750"/>
                  </a:lnTo>
                  <a:lnTo>
                    <a:pt x="829" y="757"/>
                  </a:lnTo>
                  <a:lnTo>
                    <a:pt x="812" y="761"/>
                  </a:lnTo>
                  <a:lnTo>
                    <a:pt x="794" y="764"/>
                  </a:lnTo>
                  <a:lnTo>
                    <a:pt x="776" y="767"/>
                  </a:lnTo>
                  <a:lnTo>
                    <a:pt x="757" y="767"/>
                  </a:lnTo>
                  <a:lnTo>
                    <a:pt x="738" y="767"/>
                  </a:lnTo>
                  <a:lnTo>
                    <a:pt x="719" y="764"/>
                  </a:lnTo>
                  <a:lnTo>
                    <a:pt x="699" y="760"/>
                  </a:lnTo>
                  <a:lnTo>
                    <a:pt x="681" y="756"/>
                  </a:lnTo>
                  <a:lnTo>
                    <a:pt x="664" y="749"/>
                  </a:lnTo>
                  <a:lnTo>
                    <a:pt x="646" y="740"/>
                  </a:lnTo>
                  <a:lnTo>
                    <a:pt x="629" y="732"/>
                  </a:lnTo>
                  <a:lnTo>
                    <a:pt x="614" y="721"/>
                  </a:lnTo>
                  <a:lnTo>
                    <a:pt x="600" y="728"/>
                  </a:lnTo>
                  <a:lnTo>
                    <a:pt x="587" y="734"/>
                  </a:lnTo>
                  <a:lnTo>
                    <a:pt x="573" y="739"/>
                  </a:lnTo>
                  <a:lnTo>
                    <a:pt x="559" y="742"/>
                  </a:lnTo>
                  <a:lnTo>
                    <a:pt x="544" y="745"/>
                  </a:lnTo>
                  <a:lnTo>
                    <a:pt x="529" y="747"/>
                  </a:lnTo>
                  <a:lnTo>
                    <a:pt x="514" y="747"/>
                  </a:lnTo>
                  <a:lnTo>
                    <a:pt x="499" y="747"/>
                  </a:lnTo>
                  <a:lnTo>
                    <a:pt x="484" y="746"/>
                  </a:lnTo>
                  <a:lnTo>
                    <a:pt x="469" y="743"/>
                  </a:lnTo>
                  <a:lnTo>
                    <a:pt x="455" y="739"/>
                  </a:lnTo>
                  <a:lnTo>
                    <a:pt x="441" y="734"/>
                  </a:lnTo>
                  <a:lnTo>
                    <a:pt x="429" y="728"/>
                  </a:lnTo>
                  <a:lnTo>
                    <a:pt x="416" y="721"/>
                  </a:lnTo>
                  <a:lnTo>
                    <a:pt x="405" y="714"/>
                  </a:lnTo>
                  <a:lnTo>
                    <a:pt x="394" y="706"/>
                  </a:lnTo>
                  <a:lnTo>
                    <a:pt x="385" y="697"/>
                  </a:lnTo>
                  <a:lnTo>
                    <a:pt x="376" y="687"/>
                  </a:lnTo>
                  <a:lnTo>
                    <a:pt x="368" y="677"/>
                  </a:lnTo>
                  <a:lnTo>
                    <a:pt x="361" y="666"/>
                  </a:lnTo>
                  <a:lnTo>
                    <a:pt x="356" y="654"/>
                  </a:lnTo>
                  <a:lnTo>
                    <a:pt x="352" y="643"/>
                  </a:lnTo>
                  <a:lnTo>
                    <a:pt x="348" y="631"/>
                  </a:lnTo>
                  <a:lnTo>
                    <a:pt x="345" y="617"/>
                  </a:lnTo>
                  <a:lnTo>
                    <a:pt x="348" y="617"/>
                  </a:lnTo>
                  <a:lnTo>
                    <a:pt x="370" y="618"/>
                  </a:lnTo>
                  <a:lnTo>
                    <a:pt x="390" y="615"/>
                  </a:lnTo>
                  <a:lnTo>
                    <a:pt x="411" y="613"/>
                  </a:lnTo>
                  <a:lnTo>
                    <a:pt x="430" y="606"/>
                  </a:lnTo>
                  <a:lnTo>
                    <a:pt x="449" y="599"/>
                  </a:lnTo>
                  <a:lnTo>
                    <a:pt x="469" y="589"/>
                  </a:lnTo>
                  <a:lnTo>
                    <a:pt x="485" y="578"/>
                  </a:lnTo>
                  <a:lnTo>
                    <a:pt x="500" y="566"/>
                  </a:lnTo>
                  <a:lnTo>
                    <a:pt x="496" y="552"/>
                  </a:lnTo>
                  <a:lnTo>
                    <a:pt x="478" y="552"/>
                  </a:lnTo>
                  <a:lnTo>
                    <a:pt x="469" y="552"/>
                  </a:lnTo>
                  <a:lnTo>
                    <a:pt x="462" y="551"/>
                  </a:lnTo>
                  <a:lnTo>
                    <a:pt x="453" y="548"/>
                  </a:lnTo>
                  <a:lnTo>
                    <a:pt x="447" y="544"/>
                  </a:lnTo>
                  <a:lnTo>
                    <a:pt x="440" y="540"/>
                  </a:lnTo>
                  <a:lnTo>
                    <a:pt x="434" y="534"/>
                  </a:lnTo>
                  <a:lnTo>
                    <a:pt x="430" y="529"/>
                  </a:lnTo>
                  <a:lnTo>
                    <a:pt x="425" y="521"/>
                  </a:lnTo>
                  <a:lnTo>
                    <a:pt x="422" y="511"/>
                  </a:lnTo>
                  <a:lnTo>
                    <a:pt x="418" y="501"/>
                  </a:lnTo>
                  <a:lnTo>
                    <a:pt x="416" y="489"/>
                  </a:lnTo>
                  <a:lnTo>
                    <a:pt x="414" y="477"/>
                  </a:lnTo>
                  <a:lnTo>
                    <a:pt x="412" y="445"/>
                  </a:lnTo>
                  <a:lnTo>
                    <a:pt x="412" y="372"/>
                  </a:lnTo>
                  <a:lnTo>
                    <a:pt x="412" y="353"/>
                  </a:lnTo>
                  <a:lnTo>
                    <a:pt x="414" y="335"/>
                  </a:lnTo>
                  <a:lnTo>
                    <a:pt x="419" y="299"/>
                  </a:lnTo>
                  <a:lnTo>
                    <a:pt x="427" y="264"/>
                  </a:lnTo>
                  <a:lnTo>
                    <a:pt x="438" y="231"/>
                  </a:lnTo>
                  <a:lnTo>
                    <a:pt x="452" y="198"/>
                  </a:lnTo>
                  <a:lnTo>
                    <a:pt x="469" y="168"/>
                  </a:lnTo>
                  <a:lnTo>
                    <a:pt x="486" y="139"/>
                  </a:lnTo>
                  <a:lnTo>
                    <a:pt x="508" y="113"/>
                  </a:lnTo>
                  <a:lnTo>
                    <a:pt x="532" y="88"/>
                  </a:lnTo>
                  <a:lnTo>
                    <a:pt x="544" y="77"/>
                  </a:lnTo>
                  <a:lnTo>
                    <a:pt x="558" y="66"/>
                  </a:lnTo>
                  <a:lnTo>
                    <a:pt x="572" y="56"/>
                  </a:lnTo>
                  <a:lnTo>
                    <a:pt x="585" y="47"/>
                  </a:lnTo>
                  <a:lnTo>
                    <a:pt x="600" y="38"/>
                  </a:lnTo>
                  <a:lnTo>
                    <a:pt x="616" y="30"/>
                  </a:lnTo>
                  <a:lnTo>
                    <a:pt x="631" y="23"/>
                  </a:lnTo>
                  <a:lnTo>
                    <a:pt x="646" y="18"/>
                  </a:lnTo>
                  <a:lnTo>
                    <a:pt x="662" y="12"/>
                  </a:lnTo>
                  <a:lnTo>
                    <a:pt x="679" y="8"/>
                  </a:lnTo>
                  <a:lnTo>
                    <a:pt x="697" y="5"/>
                  </a:lnTo>
                  <a:lnTo>
                    <a:pt x="713" y="3"/>
                  </a:lnTo>
                  <a:lnTo>
                    <a:pt x="731" y="1"/>
                  </a:lnTo>
                  <a:lnTo>
                    <a:pt x="749" y="0"/>
                  </a:lnTo>
                  <a:lnTo>
                    <a:pt x="767" y="1"/>
                  </a:lnTo>
                  <a:lnTo>
                    <a:pt x="785" y="3"/>
                  </a:lnTo>
                  <a:lnTo>
                    <a:pt x="801" y="5"/>
                  </a:lnTo>
                  <a:lnTo>
                    <a:pt x="819" y="8"/>
                  </a:lnTo>
                  <a:lnTo>
                    <a:pt x="835" y="12"/>
                  </a:lnTo>
                  <a:lnTo>
                    <a:pt x="852" y="18"/>
                  </a:lnTo>
                  <a:lnTo>
                    <a:pt x="867" y="23"/>
                  </a:lnTo>
                  <a:lnTo>
                    <a:pt x="882" y="30"/>
                  </a:lnTo>
                  <a:lnTo>
                    <a:pt x="897" y="38"/>
                  </a:lnTo>
                  <a:lnTo>
                    <a:pt x="912" y="47"/>
                  </a:lnTo>
                  <a:lnTo>
                    <a:pt x="926" y="56"/>
                  </a:lnTo>
                  <a:lnTo>
                    <a:pt x="940" y="66"/>
                  </a:lnTo>
                  <a:lnTo>
                    <a:pt x="954" y="77"/>
                  </a:lnTo>
                  <a:lnTo>
                    <a:pt x="966" y="88"/>
                  </a:lnTo>
                  <a:lnTo>
                    <a:pt x="989" y="113"/>
                  </a:lnTo>
                  <a:lnTo>
                    <a:pt x="1011" y="139"/>
                  </a:lnTo>
                  <a:lnTo>
                    <a:pt x="1029" y="168"/>
                  </a:lnTo>
                  <a:lnTo>
                    <a:pt x="1046" y="198"/>
                  </a:lnTo>
                  <a:lnTo>
                    <a:pt x="1059" y="231"/>
                  </a:lnTo>
                  <a:lnTo>
                    <a:pt x="1070" y="264"/>
                  </a:lnTo>
                  <a:lnTo>
                    <a:pt x="1079" y="299"/>
                  </a:lnTo>
                  <a:lnTo>
                    <a:pt x="1084" y="335"/>
                  </a:lnTo>
                  <a:lnTo>
                    <a:pt x="1085" y="353"/>
                  </a:lnTo>
                  <a:lnTo>
                    <a:pt x="1085" y="372"/>
                  </a:lnTo>
                  <a:close/>
                  <a:moveTo>
                    <a:pt x="911" y="199"/>
                  </a:moveTo>
                  <a:lnTo>
                    <a:pt x="911" y="199"/>
                  </a:lnTo>
                  <a:lnTo>
                    <a:pt x="925" y="217"/>
                  </a:lnTo>
                  <a:lnTo>
                    <a:pt x="938" y="236"/>
                  </a:lnTo>
                  <a:lnTo>
                    <a:pt x="948" y="257"/>
                  </a:lnTo>
                  <a:lnTo>
                    <a:pt x="958" y="278"/>
                  </a:lnTo>
                  <a:lnTo>
                    <a:pt x="966" y="301"/>
                  </a:lnTo>
                  <a:lnTo>
                    <a:pt x="971" y="326"/>
                  </a:lnTo>
                  <a:lnTo>
                    <a:pt x="974" y="350"/>
                  </a:lnTo>
                  <a:lnTo>
                    <a:pt x="976" y="376"/>
                  </a:lnTo>
                  <a:lnTo>
                    <a:pt x="976" y="463"/>
                  </a:lnTo>
                  <a:lnTo>
                    <a:pt x="974" y="489"/>
                  </a:lnTo>
                  <a:lnTo>
                    <a:pt x="970" y="514"/>
                  </a:lnTo>
                  <a:lnTo>
                    <a:pt x="965" y="539"/>
                  </a:lnTo>
                  <a:lnTo>
                    <a:pt x="958" y="561"/>
                  </a:lnTo>
                  <a:lnTo>
                    <a:pt x="948" y="582"/>
                  </a:lnTo>
                  <a:lnTo>
                    <a:pt x="937" y="603"/>
                  </a:lnTo>
                  <a:lnTo>
                    <a:pt x="925" y="622"/>
                  </a:lnTo>
                  <a:lnTo>
                    <a:pt x="911" y="640"/>
                  </a:lnTo>
                  <a:lnTo>
                    <a:pt x="894" y="657"/>
                  </a:lnTo>
                  <a:lnTo>
                    <a:pt x="878" y="670"/>
                  </a:lnTo>
                  <a:lnTo>
                    <a:pt x="860" y="683"/>
                  </a:lnTo>
                  <a:lnTo>
                    <a:pt x="841" y="692"/>
                  </a:lnTo>
                  <a:lnTo>
                    <a:pt x="822" y="701"/>
                  </a:lnTo>
                  <a:lnTo>
                    <a:pt x="801" y="708"/>
                  </a:lnTo>
                  <a:lnTo>
                    <a:pt x="779" y="710"/>
                  </a:lnTo>
                  <a:lnTo>
                    <a:pt x="757" y="712"/>
                  </a:lnTo>
                  <a:lnTo>
                    <a:pt x="735" y="710"/>
                  </a:lnTo>
                  <a:lnTo>
                    <a:pt x="714" y="708"/>
                  </a:lnTo>
                  <a:lnTo>
                    <a:pt x="694" y="701"/>
                  </a:lnTo>
                  <a:lnTo>
                    <a:pt x="673" y="692"/>
                  </a:lnTo>
                  <a:lnTo>
                    <a:pt x="655" y="683"/>
                  </a:lnTo>
                  <a:lnTo>
                    <a:pt x="636" y="670"/>
                  </a:lnTo>
                  <a:lnTo>
                    <a:pt x="620" y="657"/>
                  </a:lnTo>
                  <a:lnTo>
                    <a:pt x="605" y="640"/>
                  </a:lnTo>
                  <a:lnTo>
                    <a:pt x="591" y="622"/>
                  </a:lnTo>
                  <a:lnTo>
                    <a:pt x="577" y="603"/>
                  </a:lnTo>
                  <a:lnTo>
                    <a:pt x="566" y="582"/>
                  </a:lnTo>
                  <a:lnTo>
                    <a:pt x="556" y="561"/>
                  </a:lnTo>
                  <a:lnTo>
                    <a:pt x="550" y="539"/>
                  </a:lnTo>
                  <a:lnTo>
                    <a:pt x="544" y="514"/>
                  </a:lnTo>
                  <a:lnTo>
                    <a:pt x="540" y="489"/>
                  </a:lnTo>
                  <a:lnTo>
                    <a:pt x="540" y="463"/>
                  </a:lnTo>
                  <a:lnTo>
                    <a:pt x="540" y="434"/>
                  </a:lnTo>
                  <a:lnTo>
                    <a:pt x="569" y="438"/>
                  </a:lnTo>
                  <a:lnTo>
                    <a:pt x="599" y="440"/>
                  </a:lnTo>
                  <a:lnTo>
                    <a:pt x="627" y="438"/>
                  </a:lnTo>
                  <a:lnTo>
                    <a:pt x="654" y="434"/>
                  </a:lnTo>
                  <a:lnTo>
                    <a:pt x="680" y="429"/>
                  </a:lnTo>
                  <a:lnTo>
                    <a:pt x="705" y="422"/>
                  </a:lnTo>
                  <a:lnTo>
                    <a:pt x="730" y="412"/>
                  </a:lnTo>
                  <a:lnTo>
                    <a:pt x="753" y="400"/>
                  </a:lnTo>
                  <a:lnTo>
                    <a:pt x="776" y="386"/>
                  </a:lnTo>
                  <a:lnTo>
                    <a:pt x="797" y="371"/>
                  </a:lnTo>
                  <a:lnTo>
                    <a:pt x="818" y="354"/>
                  </a:lnTo>
                  <a:lnTo>
                    <a:pt x="835" y="337"/>
                  </a:lnTo>
                  <a:lnTo>
                    <a:pt x="852" y="316"/>
                  </a:lnTo>
                  <a:lnTo>
                    <a:pt x="868" y="295"/>
                  </a:lnTo>
                  <a:lnTo>
                    <a:pt x="882" y="273"/>
                  </a:lnTo>
                  <a:lnTo>
                    <a:pt x="893" y="250"/>
                  </a:lnTo>
                  <a:lnTo>
                    <a:pt x="903" y="225"/>
                  </a:lnTo>
                  <a:lnTo>
                    <a:pt x="911" y="199"/>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000000"/>
                </a:solidFill>
              </a:endParaRPr>
            </a:p>
          </p:txBody>
        </p:sp>
        <p:sp>
          <p:nvSpPr>
            <p:cNvPr id="13" name="Freeform 108"/>
            <p:cNvSpPr>
              <a:spLocks noChangeAspect="1" noEditPoints="1"/>
            </p:cNvSpPr>
            <p:nvPr/>
          </p:nvSpPr>
          <p:spPr bwMode="gray">
            <a:xfrm>
              <a:off x="6457953" y="4932759"/>
              <a:ext cx="128183" cy="359148"/>
            </a:xfrm>
            <a:custGeom>
              <a:avLst/>
              <a:gdLst>
                <a:gd name="T0" fmla="*/ 2147483647 w 1700"/>
                <a:gd name="T1" fmla="*/ 2147483647 h 4763"/>
                <a:gd name="T2" fmla="*/ 2147483647 w 1700"/>
                <a:gd name="T3" fmla="*/ 2147483647 h 4763"/>
                <a:gd name="T4" fmla="*/ 2147483647 w 1700"/>
                <a:gd name="T5" fmla="*/ 2147483647 h 4763"/>
                <a:gd name="T6" fmla="*/ 2147483647 w 1700"/>
                <a:gd name="T7" fmla="*/ 2147483647 h 4763"/>
                <a:gd name="T8" fmla="*/ 2147483647 w 1700"/>
                <a:gd name="T9" fmla="*/ 2147483647 h 4763"/>
                <a:gd name="T10" fmla="*/ 2147483647 w 1700"/>
                <a:gd name="T11" fmla="*/ 2147483647 h 4763"/>
                <a:gd name="T12" fmla="*/ 2147483647 w 1700"/>
                <a:gd name="T13" fmla="*/ 2147483647 h 4763"/>
                <a:gd name="T14" fmla="*/ 2147483647 w 1700"/>
                <a:gd name="T15" fmla="*/ 2147483647 h 4763"/>
                <a:gd name="T16" fmla="*/ 2147483647 w 1700"/>
                <a:gd name="T17" fmla="*/ 2147483647 h 4763"/>
                <a:gd name="T18" fmla="*/ 2147483647 w 1700"/>
                <a:gd name="T19" fmla="*/ 2147483647 h 4763"/>
                <a:gd name="T20" fmla="*/ 2147483647 w 1700"/>
                <a:gd name="T21" fmla="*/ 2147483647 h 4763"/>
                <a:gd name="T22" fmla="*/ 2147483647 w 1700"/>
                <a:gd name="T23" fmla="*/ 2147483647 h 4763"/>
                <a:gd name="T24" fmla="*/ 2147483647 w 1700"/>
                <a:gd name="T25" fmla="*/ 2147483647 h 4763"/>
                <a:gd name="T26" fmla="*/ 2147483647 w 1700"/>
                <a:gd name="T27" fmla="*/ 2147483647 h 4763"/>
                <a:gd name="T28" fmla="*/ 2147483647 w 1700"/>
                <a:gd name="T29" fmla="*/ 2147483647 h 4763"/>
                <a:gd name="T30" fmla="*/ 2147483647 w 1700"/>
                <a:gd name="T31" fmla="*/ 2147483647 h 4763"/>
                <a:gd name="T32" fmla="*/ 2147483647 w 1700"/>
                <a:gd name="T33" fmla="*/ 2147483647 h 4763"/>
                <a:gd name="T34" fmla="*/ 2147483647 w 1700"/>
                <a:gd name="T35" fmla="*/ 2147483647 h 4763"/>
                <a:gd name="T36" fmla="*/ 2147483647 w 1700"/>
                <a:gd name="T37" fmla="*/ 2147483647 h 4763"/>
                <a:gd name="T38" fmla="*/ 2147483647 w 1700"/>
                <a:gd name="T39" fmla="*/ 2147483647 h 4763"/>
                <a:gd name="T40" fmla="*/ 2147483647 w 1700"/>
                <a:gd name="T41" fmla="*/ 0 h 4763"/>
                <a:gd name="T42" fmla="*/ 2147483647 w 1700"/>
                <a:gd name="T43" fmla="*/ 2147483647 h 4763"/>
                <a:gd name="T44" fmla="*/ 2147483647 w 1700"/>
                <a:gd name="T45" fmla="*/ 2147483647 h 4763"/>
                <a:gd name="T46" fmla="*/ 2147483647 w 1700"/>
                <a:gd name="T47" fmla="*/ 2147483647 h 4763"/>
                <a:gd name="T48" fmla="*/ 2147483647 w 1700"/>
                <a:gd name="T49" fmla="*/ 2147483647 h 4763"/>
                <a:gd name="T50" fmla="*/ 2147483647 w 1700"/>
                <a:gd name="T51" fmla="*/ 2147483647 h 4763"/>
                <a:gd name="T52" fmla="*/ 2147483647 w 1700"/>
                <a:gd name="T53" fmla="*/ 2147483647 h 4763"/>
                <a:gd name="T54" fmla="*/ 2147483647 w 1700"/>
                <a:gd name="T55" fmla="*/ 2147483647 h 4763"/>
                <a:gd name="T56" fmla="*/ 2147483647 w 1700"/>
                <a:gd name="T57" fmla="*/ 2147483647 h 4763"/>
                <a:gd name="T58" fmla="*/ 2147483647 w 1700"/>
                <a:gd name="T59" fmla="*/ 2147483647 h 4763"/>
                <a:gd name="T60" fmla="*/ 2147483647 w 1700"/>
                <a:gd name="T61" fmla="*/ 2147483647 h 4763"/>
                <a:gd name="T62" fmla="*/ 2147483647 w 1700"/>
                <a:gd name="T63" fmla="*/ 2147483647 h 4763"/>
                <a:gd name="T64" fmla="*/ 2147483647 w 1700"/>
                <a:gd name="T65" fmla="*/ 2147483647 h 4763"/>
                <a:gd name="T66" fmla="*/ 2147483647 w 1700"/>
                <a:gd name="T67" fmla="*/ 2147483647 h 4763"/>
                <a:gd name="T68" fmla="*/ 2147483647 w 1700"/>
                <a:gd name="T69" fmla="*/ 2147483647 h 4763"/>
                <a:gd name="T70" fmla="*/ 2147483647 w 1700"/>
                <a:gd name="T71" fmla="*/ 2147483647 h 4763"/>
                <a:gd name="T72" fmla="*/ 2147483647 w 1700"/>
                <a:gd name="T73" fmla="*/ 2147483647 h 4763"/>
                <a:gd name="T74" fmla="*/ 2147483647 w 1700"/>
                <a:gd name="T75" fmla="*/ 2147483647 h 4763"/>
                <a:gd name="T76" fmla="*/ 2147483647 w 1700"/>
                <a:gd name="T77" fmla="*/ 2147483647 h 4763"/>
                <a:gd name="T78" fmla="*/ 2147483647 w 1700"/>
                <a:gd name="T79" fmla="*/ 2147483647 h 4763"/>
                <a:gd name="T80" fmla="*/ 2147483647 w 1700"/>
                <a:gd name="T81" fmla="*/ 2147483647 h 4763"/>
                <a:gd name="T82" fmla="*/ 2147483647 w 1700"/>
                <a:gd name="T83" fmla="*/ 2147483647 h 4763"/>
                <a:gd name="T84" fmla="*/ 2147483647 w 1700"/>
                <a:gd name="T85" fmla="*/ 2147483647 h 4763"/>
                <a:gd name="T86" fmla="*/ 2147483647 w 1700"/>
                <a:gd name="T87" fmla="*/ 2147483647 h 4763"/>
                <a:gd name="T88" fmla="*/ 2147483647 w 1700"/>
                <a:gd name="T89" fmla="*/ 2147483647 h 4763"/>
                <a:gd name="T90" fmla="*/ 0 w 1700"/>
                <a:gd name="T91" fmla="*/ 2147483647 h 4763"/>
                <a:gd name="T92" fmla="*/ 2147483647 w 1700"/>
                <a:gd name="T93" fmla="*/ 2147483647 h 4763"/>
                <a:gd name="T94" fmla="*/ 2147483647 w 1700"/>
                <a:gd name="T95" fmla="*/ 2147483647 h 4763"/>
                <a:gd name="T96" fmla="*/ 2147483647 w 1700"/>
                <a:gd name="T97" fmla="*/ 2147483647 h 4763"/>
                <a:gd name="T98" fmla="*/ 2147483647 w 1700"/>
                <a:gd name="T99" fmla="*/ 2147483647 h 4763"/>
                <a:gd name="T100" fmla="*/ 2147483647 w 1700"/>
                <a:gd name="T101" fmla="*/ 2147483647 h 4763"/>
                <a:gd name="T102" fmla="*/ 2147483647 w 1700"/>
                <a:gd name="T103" fmla="*/ 2147483647 h 4763"/>
                <a:gd name="T104" fmla="*/ 2147483647 w 1700"/>
                <a:gd name="T105" fmla="*/ 2147483647 h 4763"/>
                <a:gd name="T106" fmla="*/ 2147483647 w 1700"/>
                <a:gd name="T107" fmla="*/ 2147483647 h 4763"/>
                <a:gd name="T108" fmla="*/ 2147483647 w 1700"/>
                <a:gd name="T109" fmla="*/ 2147483647 h 4763"/>
                <a:gd name="T110" fmla="*/ 2147483647 w 1700"/>
                <a:gd name="T111" fmla="*/ 2147483647 h 4763"/>
                <a:gd name="T112" fmla="*/ 2147483647 w 1700"/>
                <a:gd name="T113" fmla="*/ 2147483647 h 4763"/>
                <a:gd name="T114" fmla="*/ 2147483647 w 1700"/>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00"/>
                <a:gd name="T175" fmla="*/ 0 h 4763"/>
                <a:gd name="T176" fmla="*/ 1700 w 1700"/>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00" h="4763">
                  <a:moveTo>
                    <a:pt x="638" y="216"/>
                  </a:moveTo>
                  <a:lnTo>
                    <a:pt x="638" y="216"/>
                  </a:lnTo>
                  <a:lnTo>
                    <a:pt x="634" y="235"/>
                  </a:lnTo>
                  <a:lnTo>
                    <a:pt x="630" y="255"/>
                  </a:lnTo>
                  <a:lnTo>
                    <a:pt x="628" y="276"/>
                  </a:lnTo>
                  <a:lnTo>
                    <a:pt x="628" y="297"/>
                  </a:lnTo>
                  <a:lnTo>
                    <a:pt x="628" y="368"/>
                  </a:lnTo>
                  <a:lnTo>
                    <a:pt x="628" y="393"/>
                  </a:lnTo>
                  <a:lnTo>
                    <a:pt x="632" y="418"/>
                  </a:lnTo>
                  <a:lnTo>
                    <a:pt x="637" y="442"/>
                  </a:lnTo>
                  <a:lnTo>
                    <a:pt x="645" y="465"/>
                  </a:lnTo>
                  <a:lnTo>
                    <a:pt x="653" y="486"/>
                  </a:lnTo>
                  <a:lnTo>
                    <a:pt x="665" y="506"/>
                  </a:lnTo>
                  <a:lnTo>
                    <a:pt x="677" y="525"/>
                  </a:lnTo>
                  <a:lnTo>
                    <a:pt x="691" y="542"/>
                  </a:lnTo>
                  <a:lnTo>
                    <a:pt x="706" y="558"/>
                  </a:lnTo>
                  <a:lnTo>
                    <a:pt x="723" y="571"/>
                  </a:lnTo>
                  <a:lnTo>
                    <a:pt x="741" y="583"/>
                  </a:lnTo>
                  <a:lnTo>
                    <a:pt x="759" y="594"/>
                  </a:lnTo>
                  <a:lnTo>
                    <a:pt x="778" y="602"/>
                  </a:lnTo>
                  <a:lnTo>
                    <a:pt x="799" y="607"/>
                  </a:lnTo>
                  <a:lnTo>
                    <a:pt x="819" y="611"/>
                  </a:lnTo>
                  <a:lnTo>
                    <a:pt x="841" y="612"/>
                  </a:lnTo>
                  <a:lnTo>
                    <a:pt x="863" y="611"/>
                  </a:lnTo>
                  <a:lnTo>
                    <a:pt x="883" y="607"/>
                  </a:lnTo>
                  <a:lnTo>
                    <a:pt x="904" y="602"/>
                  </a:lnTo>
                  <a:lnTo>
                    <a:pt x="922" y="594"/>
                  </a:lnTo>
                  <a:lnTo>
                    <a:pt x="941" y="583"/>
                  </a:lnTo>
                  <a:lnTo>
                    <a:pt x="959" y="571"/>
                  </a:lnTo>
                  <a:lnTo>
                    <a:pt x="975" y="558"/>
                  </a:lnTo>
                  <a:lnTo>
                    <a:pt x="990" y="542"/>
                  </a:lnTo>
                  <a:lnTo>
                    <a:pt x="1005" y="525"/>
                  </a:lnTo>
                  <a:lnTo>
                    <a:pt x="1017" y="506"/>
                  </a:lnTo>
                  <a:lnTo>
                    <a:pt x="1028" y="486"/>
                  </a:lnTo>
                  <a:lnTo>
                    <a:pt x="1036" y="465"/>
                  </a:lnTo>
                  <a:lnTo>
                    <a:pt x="1044" y="442"/>
                  </a:lnTo>
                  <a:lnTo>
                    <a:pt x="1050" y="418"/>
                  </a:lnTo>
                  <a:lnTo>
                    <a:pt x="1054" y="393"/>
                  </a:lnTo>
                  <a:lnTo>
                    <a:pt x="1054" y="368"/>
                  </a:lnTo>
                  <a:lnTo>
                    <a:pt x="1054" y="297"/>
                  </a:lnTo>
                  <a:lnTo>
                    <a:pt x="1054" y="274"/>
                  </a:lnTo>
                  <a:lnTo>
                    <a:pt x="1051" y="251"/>
                  </a:lnTo>
                  <a:lnTo>
                    <a:pt x="1046" y="230"/>
                  </a:lnTo>
                  <a:lnTo>
                    <a:pt x="1040" y="208"/>
                  </a:lnTo>
                  <a:lnTo>
                    <a:pt x="1032" y="198"/>
                  </a:lnTo>
                  <a:lnTo>
                    <a:pt x="1025" y="189"/>
                  </a:lnTo>
                  <a:lnTo>
                    <a:pt x="1017" y="179"/>
                  </a:lnTo>
                  <a:lnTo>
                    <a:pt x="1007" y="171"/>
                  </a:lnTo>
                  <a:lnTo>
                    <a:pt x="997" y="163"/>
                  </a:lnTo>
                  <a:lnTo>
                    <a:pt x="986" y="157"/>
                  </a:lnTo>
                  <a:lnTo>
                    <a:pt x="963" y="145"/>
                  </a:lnTo>
                  <a:lnTo>
                    <a:pt x="952" y="158"/>
                  </a:lnTo>
                  <a:lnTo>
                    <a:pt x="938" y="170"/>
                  </a:lnTo>
                  <a:lnTo>
                    <a:pt x="924" y="181"/>
                  </a:lnTo>
                  <a:lnTo>
                    <a:pt x="908" y="190"/>
                  </a:lnTo>
                  <a:lnTo>
                    <a:pt x="892" y="197"/>
                  </a:lnTo>
                  <a:lnTo>
                    <a:pt x="873" y="202"/>
                  </a:lnTo>
                  <a:lnTo>
                    <a:pt x="855" y="206"/>
                  </a:lnTo>
                  <a:lnTo>
                    <a:pt x="836" y="207"/>
                  </a:lnTo>
                  <a:lnTo>
                    <a:pt x="817" y="206"/>
                  </a:lnTo>
                  <a:lnTo>
                    <a:pt x="800" y="203"/>
                  </a:lnTo>
                  <a:lnTo>
                    <a:pt x="783" y="198"/>
                  </a:lnTo>
                  <a:lnTo>
                    <a:pt x="767" y="191"/>
                  </a:lnTo>
                  <a:lnTo>
                    <a:pt x="751" y="183"/>
                  </a:lnTo>
                  <a:lnTo>
                    <a:pt x="737" y="173"/>
                  </a:lnTo>
                  <a:lnTo>
                    <a:pt x="725" y="162"/>
                  </a:lnTo>
                  <a:lnTo>
                    <a:pt x="713" y="149"/>
                  </a:lnTo>
                  <a:lnTo>
                    <a:pt x="690" y="162"/>
                  </a:lnTo>
                  <a:lnTo>
                    <a:pt x="679" y="169"/>
                  </a:lnTo>
                  <a:lnTo>
                    <a:pt x="670" y="178"/>
                  </a:lnTo>
                  <a:lnTo>
                    <a:pt x="661" y="186"/>
                  </a:lnTo>
                  <a:lnTo>
                    <a:pt x="653" y="195"/>
                  </a:lnTo>
                  <a:lnTo>
                    <a:pt x="645" y="206"/>
                  </a:lnTo>
                  <a:lnTo>
                    <a:pt x="638" y="216"/>
                  </a:lnTo>
                  <a:close/>
                  <a:moveTo>
                    <a:pt x="841" y="0"/>
                  </a:moveTo>
                  <a:lnTo>
                    <a:pt x="841" y="0"/>
                  </a:lnTo>
                  <a:lnTo>
                    <a:pt x="868" y="1"/>
                  </a:lnTo>
                  <a:lnTo>
                    <a:pt x="896" y="5"/>
                  </a:lnTo>
                  <a:lnTo>
                    <a:pt x="921" y="13"/>
                  </a:lnTo>
                  <a:lnTo>
                    <a:pt x="946" y="24"/>
                  </a:lnTo>
                  <a:lnTo>
                    <a:pt x="969" y="36"/>
                  </a:lnTo>
                  <a:lnTo>
                    <a:pt x="991" y="50"/>
                  </a:lnTo>
                  <a:lnTo>
                    <a:pt x="1011" y="68"/>
                  </a:lnTo>
                  <a:lnTo>
                    <a:pt x="1031" y="88"/>
                  </a:lnTo>
                  <a:lnTo>
                    <a:pt x="1047" y="109"/>
                  </a:lnTo>
                  <a:lnTo>
                    <a:pt x="1063" y="131"/>
                  </a:lnTo>
                  <a:lnTo>
                    <a:pt x="1076" y="157"/>
                  </a:lnTo>
                  <a:lnTo>
                    <a:pt x="1087" y="182"/>
                  </a:lnTo>
                  <a:lnTo>
                    <a:pt x="1096" y="210"/>
                  </a:lnTo>
                  <a:lnTo>
                    <a:pt x="1103" y="238"/>
                  </a:lnTo>
                  <a:lnTo>
                    <a:pt x="1107" y="267"/>
                  </a:lnTo>
                  <a:lnTo>
                    <a:pt x="1107" y="296"/>
                  </a:lnTo>
                  <a:lnTo>
                    <a:pt x="1108" y="340"/>
                  </a:lnTo>
                  <a:lnTo>
                    <a:pt x="1108" y="369"/>
                  </a:lnTo>
                  <a:lnTo>
                    <a:pt x="1108" y="380"/>
                  </a:lnTo>
                  <a:lnTo>
                    <a:pt x="1107" y="385"/>
                  </a:lnTo>
                  <a:lnTo>
                    <a:pt x="1105" y="413"/>
                  </a:lnTo>
                  <a:lnTo>
                    <a:pt x="1101" y="441"/>
                  </a:lnTo>
                  <a:lnTo>
                    <a:pt x="1095" y="467"/>
                  </a:lnTo>
                  <a:lnTo>
                    <a:pt x="1086" y="494"/>
                  </a:lnTo>
                  <a:lnTo>
                    <a:pt x="1074" y="518"/>
                  </a:lnTo>
                  <a:lnTo>
                    <a:pt x="1060" y="542"/>
                  </a:lnTo>
                  <a:lnTo>
                    <a:pt x="1044" y="563"/>
                  </a:lnTo>
                  <a:lnTo>
                    <a:pt x="1027" y="583"/>
                  </a:lnTo>
                  <a:lnTo>
                    <a:pt x="1009" y="602"/>
                  </a:lnTo>
                  <a:lnTo>
                    <a:pt x="989" y="617"/>
                  </a:lnTo>
                  <a:lnTo>
                    <a:pt x="966" y="631"/>
                  </a:lnTo>
                  <a:lnTo>
                    <a:pt x="944" y="643"/>
                  </a:lnTo>
                  <a:lnTo>
                    <a:pt x="918" y="652"/>
                  </a:lnTo>
                  <a:lnTo>
                    <a:pt x="893" y="660"/>
                  </a:lnTo>
                  <a:lnTo>
                    <a:pt x="868" y="664"/>
                  </a:lnTo>
                  <a:lnTo>
                    <a:pt x="841" y="665"/>
                  </a:lnTo>
                  <a:lnTo>
                    <a:pt x="814" y="664"/>
                  </a:lnTo>
                  <a:lnTo>
                    <a:pt x="788" y="660"/>
                  </a:lnTo>
                  <a:lnTo>
                    <a:pt x="763" y="652"/>
                  </a:lnTo>
                  <a:lnTo>
                    <a:pt x="738" y="643"/>
                  </a:lnTo>
                  <a:lnTo>
                    <a:pt x="715" y="631"/>
                  </a:lnTo>
                  <a:lnTo>
                    <a:pt x="693" y="617"/>
                  </a:lnTo>
                  <a:lnTo>
                    <a:pt x="673" y="602"/>
                  </a:lnTo>
                  <a:lnTo>
                    <a:pt x="654" y="583"/>
                  </a:lnTo>
                  <a:lnTo>
                    <a:pt x="637" y="563"/>
                  </a:lnTo>
                  <a:lnTo>
                    <a:pt x="621" y="542"/>
                  </a:lnTo>
                  <a:lnTo>
                    <a:pt x="608" y="518"/>
                  </a:lnTo>
                  <a:lnTo>
                    <a:pt x="596" y="494"/>
                  </a:lnTo>
                  <a:lnTo>
                    <a:pt x="587" y="467"/>
                  </a:lnTo>
                  <a:lnTo>
                    <a:pt x="580" y="441"/>
                  </a:lnTo>
                  <a:lnTo>
                    <a:pt x="576" y="413"/>
                  </a:lnTo>
                  <a:lnTo>
                    <a:pt x="575" y="385"/>
                  </a:lnTo>
                  <a:lnTo>
                    <a:pt x="573" y="380"/>
                  </a:lnTo>
                  <a:lnTo>
                    <a:pt x="573" y="369"/>
                  </a:lnTo>
                  <a:lnTo>
                    <a:pt x="573" y="340"/>
                  </a:lnTo>
                  <a:lnTo>
                    <a:pt x="575" y="297"/>
                  </a:lnTo>
                  <a:lnTo>
                    <a:pt x="576" y="267"/>
                  </a:lnTo>
                  <a:lnTo>
                    <a:pt x="579" y="238"/>
                  </a:lnTo>
                  <a:lnTo>
                    <a:pt x="585" y="210"/>
                  </a:lnTo>
                  <a:lnTo>
                    <a:pt x="595" y="182"/>
                  </a:lnTo>
                  <a:lnTo>
                    <a:pt x="605" y="157"/>
                  </a:lnTo>
                  <a:lnTo>
                    <a:pt x="618" y="131"/>
                  </a:lnTo>
                  <a:lnTo>
                    <a:pt x="634" y="109"/>
                  </a:lnTo>
                  <a:lnTo>
                    <a:pt x="650" y="88"/>
                  </a:lnTo>
                  <a:lnTo>
                    <a:pt x="670" y="69"/>
                  </a:lnTo>
                  <a:lnTo>
                    <a:pt x="690" y="50"/>
                  </a:lnTo>
                  <a:lnTo>
                    <a:pt x="713" y="36"/>
                  </a:lnTo>
                  <a:lnTo>
                    <a:pt x="735" y="24"/>
                  </a:lnTo>
                  <a:lnTo>
                    <a:pt x="760" y="13"/>
                  </a:lnTo>
                  <a:lnTo>
                    <a:pt x="786" y="5"/>
                  </a:lnTo>
                  <a:lnTo>
                    <a:pt x="814" y="1"/>
                  </a:lnTo>
                  <a:lnTo>
                    <a:pt x="841" y="0"/>
                  </a:lnTo>
                  <a:close/>
                  <a:moveTo>
                    <a:pt x="1417" y="3144"/>
                  </a:moveTo>
                  <a:lnTo>
                    <a:pt x="1538" y="3046"/>
                  </a:lnTo>
                  <a:lnTo>
                    <a:pt x="1600" y="2791"/>
                  </a:lnTo>
                  <a:lnTo>
                    <a:pt x="1655" y="2791"/>
                  </a:lnTo>
                  <a:lnTo>
                    <a:pt x="1585" y="3077"/>
                  </a:lnTo>
                  <a:lnTo>
                    <a:pt x="1413" y="3215"/>
                  </a:lnTo>
                  <a:lnTo>
                    <a:pt x="1343" y="4763"/>
                  </a:lnTo>
                  <a:lnTo>
                    <a:pt x="897" y="4763"/>
                  </a:lnTo>
                  <a:lnTo>
                    <a:pt x="897" y="2726"/>
                  </a:lnTo>
                  <a:lnTo>
                    <a:pt x="844" y="2726"/>
                  </a:lnTo>
                  <a:lnTo>
                    <a:pt x="844" y="4763"/>
                  </a:lnTo>
                  <a:lnTo>
                    <a:pt x="398" y="4763"/>
                  </a:lnTo>
                  <a:lnTo>
                    <a:pt x="326" y="3217"/>
                  </a:lnTo>
                  <a:lnTo>
                    <a:pt x="153" y="3077"/>
                  </a:lnTo>
                  <a:lnTo>
                    <a:pt x="82" y="2791"/>
                  </a:lnTo>
                  <a:lnTo>
                    <a:pt x="137" y="2791"/>
                  </a:lnTo>
                  <a:lnTo>
                    <a:pt x="199" y="3046"/>
                  </a:lnTo>
                  <a:lnTo>
                    <a:pt x="322" y="3147"/>
                  </a:lnTo>
                  <a:lnTo>
                    <a:pt x="304" y="2738"/>
                  </a:lnTo>
                  <a:lnTo>
                    <a:pt x="300" y="2738"/>
                  </a:lnTo>
                  <a:lnTo>
                    <a:pt x="0" y="2738"/>
                  </a:lnTo>
                  <a:lnTo>
                    <a:pt x="0" y="1086"/>
                  </a:lnTo>
                  <a:lnTo>
                    <a:pt x="1" y="1065"/>
                  </a:lnTo>
                  <a:lnTo>
                    <a:pt x="4" y="1045"/>
                  </a:lnTo>
                  <a:lnTo>
                    <a:pt x="9" y="1028"/>
                  </a:lnTo>
                  <a:lnTo>
                    <a:pt x="16" y="1012"/>
                  </a:lnTo>
                  <a:lnTo>
                    <a:pt x="25" y="997"/>
                  </a:lnTo>
                  <a:lnTo>
                    <a:pt x="35" y="983"/>
                  </a:lnTo>
                  <a:lnTo>
                    <a:pt x="46" y="971"/>
                  </a:lnTo>
                  <a:lnTo>
                    <a:pt x="60" y="959"/>
                  </a:lnTo>
                  <a:lnTo>
                    <a:pt x="74" y="948"/>
                  </a:lnTo>
                  <a:lnTo>
                    <a:pt x="89" y="939"/>
                  </a:lnTo>
                  <a:lnTo>
                    <a:pt x="106" y="929"/>
                  </a:lnTo>
                  <a:lnTo>
                    <a:pt x="123" y="920"/>
                  </a:lnTo>
                  <a:lnTo>
                    <a:pt x="162" y="904"/>
                  </a:lnTo>
                  <a:lnTo>
                    <a:pt x="202" y="890"/>
                  </a:lnTo>
                  <a:lnTo>
                    <a:pt x="606" y="742"/>
                  </a:lnTo>
                  <a:lnTo>
                    <a:pt x="738" y="1522"/>
                  </a:lnTo>
                  <a:lnTo>
                    <a:pt x="806" y="916"/>
                  </a:lnTo>
                  <a:lnTo>
                    <a:pt x="790" y="908"/>
                  </a:lnTo>
                  <a:lnTo>
                    <a:pt x="774" y="898"/>
                  </a:lnTo>
                  <a:lnTo>
                    <a:pt x="760" y="886"/>
                  </a:lnTo>
                  <a:lnTo>
                    <a:pt x="750" y="871"/>
                  </a:lnTo>
                  <a:lnTo>
                    <a:pt x="851" y="775"/>
                  </a:lnTo>
                  <a:lnTo>
                    <a:pt x="952" y="871"/>
                  </a:lnTo>
                  <a:lnTo>
                    <a:pt x="940" y="886"/>
                  </a:lnTo>
                  <a:lnTo>
                    <a:pt x="926" y="898"/>
                  </a:lnTo>
                  <a:lnTo>
                    <a:pt x="912" y="908"/>
                  </a:lnTo>
                  <a:lnTo>
                    <a:pt x="894" y="916"/>
                  </a:lnTo>
                  <a:lnTo>
                    <a:pt x="962" y="1522"/>
                  </a:lnTo>
                  <a:lnTo>
                    <a:pt x="1095" y="742"/>
                  </a:lnTo>
                  <a:lnTo>
                    <a:pt x="1500" y="890"/>
                  </a:lnTo>
                  <a:lnTo>
                    <a:pt x="1539" y="904"/>
                  </a:lnTo>
                  <a:lnTo>
                    <a:pt x="1577" y="920"/>
                  </a:lnTo>
                  <a:lnTo>
                    <a:pt x="1594" y="929"/>
                  </a:lnTo>
                  <a:lnTo>
                    <a:pt x="1611" y="939"/>
                  </a:lnTo>
                  <a:lnTo>
                    <a:pt x="1627" y="948"/>
                  </a:lnTo>
                  <a:lnTo>
                    <a:pt x="1642" y="959"/>
                  </a:lnTo>
                  <a:lnTo>
                    <a:pt x="1654" y="971"/>
                  </a:lnTo>
                  <a:lnTo>
                    <a:pt x="1665" y="983"/>
                  </a:lnTo>
                  <a:lnTo>
                    <a:pt x="1676" y="997"/>
                  </a:lnTo>
                  <a:lnTo>
                    <a:pt x="1684" y="1012"/>
                  </a:lnTo>
                  <a:lnTo>
                    <a:pt x="1691" y="1028"/>
                  </a:lnTo>
                  <a:lnTo>
                    <a:pt x="1696" y="1045"/>
                  </a:lnTo>
                  <a:lnTo>
                    <a:pt x="1699" y="1065"/>
                  </a:lnTo>
                  <a:lnTo>
                    <a:pt x="1700" y="1086"/>
                  </a:lnTo>
                  <a:lnTo>
                    <a:pt x="1700" y="2738"/>
                  </a:lnTo>
                  <a:lnTo>
                    <a:pt x="1436" y="2738"/>
                  </a:lnTo>
                  <a:lnTo>
                    <a:pt x="1417" y="3144"/>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000000"/>
                </a:solidFill>
              </a:endParaRPr>
            </a:p>
          </p:txBody>
        </p:sp>
        <p:sp>
          <p:nvSpPr>
            <p:cNvPr id="14" name="Freeform 63"/>
            <p:cNvSpPr>
              <a:spLocks noChangeAspect="1" noEditPoints="1"/>
            </p:cNvSpPr>
            <p:nvPr/>
          </p:nvSpPr>
          <p:spPr bwMode="gray">
            <a:xfrm>
              <a:off x="6282804" y="4932759"/>
              <a:ext cx="113415" cy="359148"/>
            </a:xfrm>
            <a:custGeom>
              <a:avLst/>
              <a:gdLst>
                <a:gd name="T0" fmla="*/ 2147483647 w 1510"/>
                <a:gd name="T1" fmla="*/ 2147483647 h 4763"/>
                <a:gd name="T2" fmla="*/ 2147483647 w 1510"/>
                <a:gd name="T3" fmla="*/ 2147483647 h 4763"/>
                <a:gd name="T4" fmla="*/ 2147483647 w 1510"/>
                <a:gd name="T5" fmla="*/ 2147483647 h 4763"/>
                <a:gd name="T6" fmla="*/ 2147483647 w 1510"/>
                <a:gd name="T7" fmla="*/ 2147483647 h 4763"/>
                <a:gd name="T8" fmla="*/ 2147483647 w 1510"/>
                <a:gd name="T9" fmla="*/ 2147483647 h 4763"/>
                <a:gd name="T10" fmla="*/ 2147483647 w 1510"/>
                <a:gd name="T11" fmla="*/ 2147483647 h 4763"/>
                <a:gd name="T12" fmla="*/ 2147483647 w 1510"/>
                <a:gd name="T13" fmla="*/ 2147483647 h 4763"/>
                <a:gd name="T14" fmla="*/ 2147483647 w 1510"/>
                <a:gd name="T15" fmla="*/ 2147483647 h 4763"/>
                <a:gd name="T16" fmla="*/ 2147483647 w 1510"/>
                <a:gd name="T17" fmla="*/ 2147483647 h 4763"/>
                <a:gd name="T18" fmla="*/ 2147483647 w 1510"/>
                <a:gd name="T19" fmla="*/ 2147483647 h 4763"/>
                <a:gd name="T20" fmla="*/ 2147483647 w 1510"/>
                <a:gd name="T21" fmla="*/ 2147483647 h 4763"/>
                <a:gd name="T22" fmla="*/ 2147483647 w 1510"/>
                <a:gd name="T23" fmla="*/ 2147483647 h 4763"/>
                <a:gd name="T24" fmla="*/ 2147483647 w 1510"/>
                <a:gd name="T25" fmla="*/ 2147483647 h 4763"/>
                <a:gd name="T26" fmla="*/ 2147483647 w 1510"/>
                <a:gd name="T27" fmla="*/ 2147483647 h 4763"/>
                <a:gd name="T28" fmla="*/ 2147483647 w 1510"/>
                <a:gd name="T29" fmla="*/ 2147483647 h 4763"/>
                <a:gd name="T30" fmla="*/ 2147483647 w 1510"/>
                <a:gd name="T31" fmla="*/ 2147483647 h 4763"/>
                <a:gd name="T32" fmla="*/ 2147483647 w 1510"/>
                <a:gd name="T33" fmla="*/ 2147483647 h 4763"/>
                <a:gd name="T34" fmla="*/ 2147483647 w 1510"/>
                <a:gd name="T35" fmla="*/ 2147483647 h 4763"/>
                <a:gd name="T36" fmla="*/ 2147483647 w 1510"/>
                <a:gd name="T37" fmla="*/ 2147483647 h 4763"/>
                <a:gd name="T38" fmla="*/ 2147483647 w 1510"/>
                <a:gd name="T39" fmla="*/ 2147483647 h 4763"/>
                <a:gd name="T40" fmla="*/ 2147483647 w 1510"/>
                <a:gd name="T41" fmla="*/ 2147483647 h 4763"/>
                <a:gd name="T42" fmla="*/ 2147483647 w 1510"/>
                <a:gd name="T43" fmla="*/ 2147483647 h 4763"/>
                <a:gd name="T44" fmla="*/ 2147483647 w 1510"/>
                <a:gd name="T45" fmla="*/ 2147483647 h 4763"/>
                <a:gd name="T46" fmla="*/ 2147483647 w 1510"/>
                <a:gd name="T47" fmla="*/ 2147483647 h 4763"/>
                <a:gd name="T48" fmla="*/ 2147483647 w 1510"/>
                <a:gd name="T49" fmla="*/ 2147483647 h 4763"/>
                <a:gd name="T50" fmla="*/ 2147483647 w 1510"/>
                <a:gd name="T51" fmla="*/ 2147483647 h 4763"/>
                <a:gd name="T52" fmla="*/ 2147483647 w 1510"/>
                <a:gd name="T53" fmla="*/ 2147483647 h 4763"/>
                <a:gd name="T54" fmla="*/ 2147483647 w 1510"/>
                <a:gd name="T55" fmla="*/ 2147483647 h 4763"/>
                <a:gd name="T56" fmla="*/ 2147483647 w 1510"/>
                <a:gd name="T57" fmla="*/ 2147483647 h 4763"/>
                <a:gd name="T58" fmla="*/ 2147483647 w 1510"/>
                <a:gd name="T59" fmla="*/ 2147483647 h 4763"/>
                <a:gd name="T60" fmla="*/ 2147483647 w 1510"/>
                <a:gd name="T61" fmla="*/ 2147483647 h 4763"/>
                <a:gd name="T62" fmla="*/ 2147483647 w 1510"/>
                <a:gd name="T63" fmla="*/ 2147483647 h 4763"/>
                <a:gd name="T64" fmla="*/ 2147483647 w 1510"/>
                <a:gd name="T65" fmla="*/ 2147483647 h 4763"/>
                <a:gd name="T66" fmla="*/ 2147483647 w 1510"/>
                <a:gd name="T67" fmla="*/ 2147483647 h 4763"/>
                <a:gd name="T68" fmla="*/ 2147483647 w 1510"/>
                <a:gd name="T69" fmla="*/ 2147483647 h 4763"/>
                <a:gd name="T70" fmla="*/ 2147483647 w 1510"/>
                <a:gd name="T71" fmla="*/ 2147483647 h 4763"/>
                <a:gd name="T72" fmla="*/ 2147483647 w 1510"/>
                <a:gd name="T73" fmla="*/ 2147483647 h 4763"/>
                <a:gd name="T74" fmla="*/ 2147483647 w 1510"/>
                <a:gd name="T75" fmla="*/ 2147483647 h 4763"/>
                <a:gd name="T76" fmla="*/ 2147483647 w 1510"/>
                <a:gd name="T77" fmla="*/ 2147483647 h 4763"/>
                <a:gd name="T78" fmla="*/ 2147483647 w 1510"/>
                <a:gd name="T79" fmla="*/ 2147483647 h 4763"/>
                <a:gd name="T80" fmla="*/ 2147483647 w 1510"/>
                <a:gd name="T81" fmla="*/ 2147483647 h 4763"/>
                <a:gd name="T82" fmla="*/ 2147483647 w 1510"/>
                <a:gd name="T83" fmla="*/ 2147483647 h 4763"/>
                <a:gd name="T84" fmla="*/ 2147483647 w 1510"/>
                <a:gd name="T85" fmla="*/ 2147483647 h 4763"/>
                <a:gd name="T86" fmla="*/ 2147483647 w 1510"/>
                <a:gd name="T87" fmla="*/ 2147483647 h 4763"/>
                <a:gd name="T88" fmla="*/ 2147483647 w 1510"/>
                <a:gd name="T89" fmla="*/ 2147483647 h 4763"/>
                <a:gd name="T90" fmla="*/ 2147483647 w 1510"/>
                <a:gd name="T91" fmla="*/ 2147483647 h 4763"/>
                <a:gd name="T92" fmla="*/ 2147483647 w 1510"/>
                <a:gd name="T93" fmla="*/ 2147483647 h 4763"/>
                <a:gd name="T94" fmla="*/ 2147483647 w 1510"/>
                <a:gd name="T95" fmla="*/ 2147483647 h 4763"/>
                <a:gd name="T96" fmla="*/ 2147483647 w 1510"/>
                <a:gd name="T97" fmla="*/ 2147483647 h 4763"/>
                <a:gd name="T98" fmla="*/ 2147483647 w 1510"/>
                <a:gd name="T99" fmla="*/ 2147483647 h 4763"/>
                <a:gd name="T100" fmla="*/ 2147483647 w 1510"/>
                <a:gd name="T101" fmla="*/ 2147483647 h 4763"/>
                <a:gd name="T102" fmla="*/ 2147483647 w 1510"/>
                <a:gd name="T103" fmla="*/ 2147483647 h 4763"/>
                <a:gd name="T104" fmla="*/ 2147483647 w 1510"/>
                <a:gd name="T105" fmla="*/ 2147483647 h 4763"/>
                <a:gd name="T106" fmla="*/ 2147483647 w 1510"/>
                <a:gd name="T107" fmla="*/ 2147483647 h 4763"/>
                <a:gd name="T108" fmla="*/ 2147483647 w 1510"/>
                <a:gd name="T109" fmla="*/ 2147483647 h 4763"/>
                <a:gd name="T110" fmla="*/ 2147483647 w 1510"/>
                <a:gd name="T111" fmla="*/ 2147483647 h 4763"/>
                <a:gd name="T112" fmla="*/ 2147483647 w 1510"/>
                <a:gd name="T113" fmla="*/ 2147483647 h 4763"/>
                <a:gd name="T114" fmla="*/ 2147483647 w 1510"/>
                <a:gd name="T115" fmla="*/ 2147483647 h 4763"/>
                <a:gd name="T116" fmla="*/ 2147483647 w 1510"/>
                <a:gd name="T117" fmla="*/ 2147483647 h 4763"/>
                <a:gd name="T118" fmla="*/ 2147483647 w 1510"/>
                <a:gd name="T119" fmla="*/ 2147483647 h 4763"/>
                <a:gd name="T120" fmla="*/ 2147483647 w 1510"/>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10"/>
                <a:gd name="T184" fmla="*/ 0 h 4763"/>
                <a:gd name="T185" fmla="*/ 1510 w 1510"/>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10" h="4763">
                  <a:moveTo>
                    <a:pt x="544" y="802"/>
                  </a:moveTo>
                  <a:lnTo>
                    <a:pt x="749" y="1234"/>
                  </a:lnTo>
                  <a:lnTo>
                    <a:pt x="951" y="806"/>
                  </a:lnTo>
                  <a:lnTo>
                    <a:pt x="1157" y="841"/>
                  </a:lnTo>
                  <a:lnTo>
                    <a:pt x="1184" y="846"/>
                  </a:lnTo>
                  <a:lnTo>
                    <a:pt x="1212" y="852"/>
                  </a:lnTo>
                  <a:lnTo>
                    <a:pt x="1238" y="860"/>
                  </a:lnTo>
                  <a:lnTo>
                    <a:pt x="1264" y="870"/>
                  </a:lnTo>
                  <a:lnTo>
                    <a:pt x="1287" y="879"/>
                  </a:lnTo>
                  <a:lnTo>
                    <a:pt x="1311" y="892"/>
                  </a:lnTo>
                  <a:lnTo>
                    <a:pt x="1333" y="907"/>
                  </a:lnTo>
                  <a:lnTo>
                    <a:pt x="1353" y="922"/>
                  </a:lnTo>
                  <a:lnTo>
                    <a:pt x="1371" y="941"/>
                  </a:lnTo>
                  <a:lnTo>
                    <a:pt x="1388" y="960"/>
                  </a:lnTo>
                  <a:lnTo>
                    <a:pt x="1403" y="984"/>
                  </a:lnTo>
                  <a:lnTo>
                    <a:pt x="1414" y="1007"/>
                  </a:lnTo>
                  <a:lnTo>
                    <a:pt x="1423" y="1034"/>
                  </a:lnTo>
                  <a:lnTo>
                    <a:pt x="1432" y="1065"/>
                  </a:lnTo>
                  <a:lnTo>
                    <a:pt x="1436" y="1096"/>
                  </a:lnTo>
                  <a:lnTo>
                    <a:pt x="1437" y="1131"/>
                  </a:lnTo>
                  <a:lnTo>
                    <a:pt x="1437" y="2330"/>
                  </a:lnTo>
                  <a:lnTo>
                    <a:pt x="1301" y="2735"/>
                  </a:lnTo>
                  <a:lnTo>
                    <a:pt x="1510" y="3779"/>
                  </a:lnTo>
                  <a:lnTo>
                    <a:pt x="1157" y="3779"/>
                  </a:lnTo>
                  <a:lnTo>
                    <a:pt x="1021" y="4763"/>
                  </a:lnTo>
                  <a:lnTo>
                    <a:pt x="910" y="4763"/>
                  </a:lnTo>
                  <a:lnTo>
                    <a:pt x="1046" y="3779"/>
                  </a:lnTo>
                  <a:lnTo>
                    <a:pt x="787" y="3779"/>
                  </a:lnTo>
                  <a:lnTo>
                    <a:pt x="782" y="4763"/>
                  </a:lnTo>
                  <a:lnTo>
                    <a:pt x="727" y="4763"/>
                  </a:lnTo>
                  <a:lnTo>
                    <a:pt x="732" y="3779"/>
                  </a:lnTo>
                  <a:lnTo>
                    <a:pt x="464" y="3779"/>
                  </a:lnTo>
                  <a:lnTo>
                    <a:pt x="599" y="4763"/>
                  </a:lnTo>
                  <a:lnTo>
                    <a:pt x="488" y="4763"/>
                  </a:lnTo>
                  <a:lnTo>
                    <a:pt x="353" y="3779"/>
                  </a:lnTo>
                  <a:lnTo>
                    <a:pt x="0" y="3779"/>
                  </a:lnTo>
                  <a:lnTo>
                    <a:pt x="213" y="2737"/>
                  </a:lnTo>
                  <a:lnTo>
                    <a:pt x="73" y="2331"/>
                  </a:lnTo>
                  <a:lnTo>
                    <a:pt x="73" y="1131"/>
                  </a:lnTo>
                  <a:lnTo>
                    <a:pt x="74" y="1098"/>
                  </a:lnTo>
                  <a:lnTo>
                    <a:pt x="78" y="1066"/>
                  </a:lnTo>
                  <a:lnTo>
                    <a:pt x="84" y="1037"/>
                  </a:lnTo>
                  <a:lnTo>
                    <a:pt x="93" y="1011"/>
                  </a:lnTo>
                  <a:lnTo>
                    <a:pt x="104" y="988"/>
                  </a:lnTo>
                  <a:lnTo>
                    <a:pt x="118" y="966"/>
                  </a:lnTo>
                  <a:lnTo>
                    <a:pt x="133" y="947"/>
                  </a:lnTo>
                  <a:lnTo>
                    <a:pt x="151" y="929"/>
                  </a:lnTo>
                  <a:lnTo>
                    <a:pt x="170" y="912"/>
                  </a:lnTo>
                  <a:lnTo>
                    <a:pt x="191" y="898"/>
                  </a:lnTo>
                  <a:lnTo>
                    <a:pt x="213" y="886"/>
                  </a:lnTo>
                  <a:lnTo>
                    <a:pt x="236" y="875"/>
                  </a:lnTo>
                  <a:lnTo>
                    <a:pt x="260" y="866"/>
                  </a:lnTo>
                  <a:lnTo>
                    <a:pt x="284" y="857"/>
                  </a:lnTo>
                  <a:lnTo>
                    <a:pt x="311" y="850"/>
                  </a:lnTo>
                  <a:lnTo>
                    <a:pt x="337" y="845"/>
                  </a:lnTo>
                  <a:lnTo>
                    <a:pt x="544" y="802"/>
                  </a:lnTo>
                  <a:close/>
                  <a:moveTo>
                    <a:pt x="956" y="919"/>
                  </a:moveTo>
                  <a:lnTo>
                    <a:pt x="747" y="1360"/>
                  </a:lnTo>
                  <a:lnTo>
                    <a:pt x="536" y="915"/>
                  </a:lnTo>
                  <a:lnTo>
                    <a:pt x="365" y="945"/>
                  </a:lnTo>
                  <a:lnTo>
                    <a:pt x="348" y="949"/>
                  </a:lnTo>
                  <a:lnTo>
                    <a:pt x="330" y="953"/>
                  </a:lnTo>
                  <a:lnTo>
                    <a:pt x="312" y="959"/>
                  </a:lnTo>
                  <a:lnTo>
                    <a:pt x="295" y="966"/>
                  </a:lnTo>
                  <a:lnTo>
                    <a:pt x="279" y="973"/>
                  </a:lnTo>
                  <a:lnTo>
                    <a:pt x="264" y="981"/>
                  </a:lnTo>
                  <a:lnTo>
                    <a:pt x="250" y="991"/>
                  </a:lnTo>
                  <a:lnTo>
                    <a:pt x="236" y="1002"/>
                  </a:lnTo>
                  <a:lnTo>
                    <a:pt x="225" y="1012"/>
                  </a:lnTo>
                  <a:lnTo>
                    <a:pt x="214" y="1026"/>
                  </a:lnTo>
                  <a:lnTo>
                    <a:pt x="205" y="1040"/>
                  </a:lnTo>
                  <a:lnTo>
                    <a:pt x="196" y="1056"/>
                  </a:lnTo>
                  <a:lnTo>
                    <a:pt x="191" y="1073"/>
                  </a:lnTo>
                  <a:lnTo>
                    <a:pt x="185" y="1091"/>
                  </a:lnTo>
                  <a:lnTo>
                    <a:pt x="183" y="1110"/>
                  </a:lnTo>
                  <a:lnTo>
                    <a:pt x="183" y="1131"/>
                  </a:lnTo>
                  <a:lnTo>
                    <a:pt x="183" y="2253"/>
                  </a:lnTo>
                  <a:lnTo>
                    <a:pt x="361" y="2253"/>
                  </a:lnTo>
                  <a:lnTo>
                    <a:pt x="404" y="2069"/>
                  </a:lnTo>
                  <a:lnTo>
                    <a:pt x="404" y="1504"/>
                  </a:lnTo>
                  <a:lnTo>
                    <a:pt x="334" y="1184"/>
                  </a:lnTo>
                  <a:lnTo>
                    <a:pt x="387" y="1172"/>
                  </a:lnTo>
                  <a:lnTo>
                    <a:pt x="459" y="1499"/>
                  </a:lnTo>
                  <a:lnTo>
                    <a:pt x="459" y="2072"/>
                  </a:lnTo>
                  <a:lnTo>
                    <a:pt x="1050" y="2072"/>
                  </a:lnTo>
                  <a:lnTo>
                    <a:pt x="1050" y="1499"/>
                  </a:lnTo>
                  <a:lnTo>
                    <a:pt x="1123" y="1172"/>
                  </a:lnTo>
                  <a:lnTo>
                    <a:pt x="1176" y="1184"/>
                  </a:lnTo>
                  <a:lnTo>
                    <a:pt x="1105" y="1504"/>
                  </a:lnTo>
                  <a:lnTo>
                    <a:pt x="1105" y="2069"/>
                  </a:lnTo>
                  <a:lnTo>
                    <a:pt x="1147" y="2253"/>
                  </a:lnTo>
                  <a:lnTo>
                    <a:pt x="1327" y="2253"/>
                  </a:lnTo>
                  <a:lnTo>
                    <a:pt x="1327" y="1131"/>
                  </a:lnTo>
                  <a:lnTo>
                    <a:pt x="1326" y="1110"/>
                  </a:lnTo>
                  <a:lnTo>
                    <a:pt x="1323" y="1092"/>
                  </a:lnTo>
                  <a:lnTo>
                    <a:pt x="1319" y="1073"/>
                  </a:lnTo>
                  <a:lnTo>
                    <a:pt x="1314" y="1056"/>
                  </a:lnTo>
                  <a:lnTo>
                    <a:pt x="1305" y="1041"/>
                  </a:lnTo>
                  <a:lnTo>
                    <a:pt x="1297" y="1028"/>
                  </a:lnTo>
                  <a:lnTo>
                    <a:pt x="1286" y="1014"/>
                  </a:lnTo>
                  <a:lnTo>
                    <a:pt x="1275" y="1002"/>
                  </a:lnTo>
                  <a:lnTo>
                    <a:pt x="1263" y="992"/>
                  </a:lnTo>
                  <a:lnTo>
                    <a:pt x="1249" y="982"/>
                  </a:lnTo>
                  <a:lnTo>
                    <a:pt x="1234" y="973"/>
                  </a:lnTo>
                  <a:lnTo>
                    <a:pt x="1219" y="966"/>
                  </a:lnTo>
                  <a:lnTo>
                    <a:pt x="1202" y="959"/>
                  </a:lnTo>
                  <a:lnTo>
                    <a:pt x="1186" y="955"/>
                  </a:lnTo>
                  <a:lnTo>
                    <a:pt x="1169" y="951"/>
                  </a:lnTo>
                  <a:lnTo>
                    <a:pt x="1151" y="947"/>
                  </a:lnTo>
                  <a:lnTo>
                    <a:pt x="956" y="919"/>
                  </a:lnTo>
                  <a:close/>
                  <a:moveTo>
                    <a:pt x="349" y="2308"/>
                  </a:moveTo>
                  <a:lnTo>
                    <a:pt x="183" y="2308"/>
                  </a:lnTo>
                  <a:lnTo>
                    <a:pt x="183" y="2311"/>
                  </a:lnTo>
                  <a:lnTo>
                    <a:pt x="282" y="2595"/>
                  </a:lnTo>
                  <a:lnTo>
                    <a:pt x="349" y="2308"/>
                  </a:lnTo>
                  <a:close/>
                  <a:moveTo>
                    <a:pt x="1327" y="2308"/>
                  </a:moveTo>
                  <a:lnTo>
                    <a:pt x="1160" y="2308"/>
                  </a:lnTo>
                  <a:lnTo>
                    <a:pt x="1227" y="2607"/>
                  </a:lnTo>
                  <a:lnTo>
                    <a:pt x="1327" y="2311"/>
                  </a:lnTo>
                  <a:lnTo>
                    <a:pt x="1327" y="2308"/>
                  </a:lnTo>
                  <a:close/>
                  <a:moveTo>
                    <a:pt x="1085" y="372"/>
                  </a:moveTo>
                  <a:lnTo>
                    <a:pt x="1085" y="445"/>
                  </a:lnTo>
                  <a:lnTo>
                    <a:pt x="1084" y="473"/>
                  </a:lnTo>
                  <a:lnTo>
                    <a:pt x="1081" y="496"/>
                  </a:lnTo>
                  <a:lnTo>
                    <a:pt x="1079" y="506"/>
                  </a:lnTo>
                  <a:lnTo>
                    <a:pt x="1076" y="515"/>
                  </a:lnTo>
                  <a:lnTo>
                    <a:pt x="1072" y="522"/>
                  </a:lnTo>
                  <a:lnTo>
                    <a:pt x="1068" y="529"/>
                  </a:lnTo>
                  <a:lnTo>
                    <a:pt x="1063" y="534"/>
                  </a:lnTo>
                  <a:lnTo>
                    <a:pt x="1058" y="540"/>
                  </a:lnTo>
                  <a:lnTo>
                    <a:pt x="1052" y="544"/>
                  </a:lnTo>
                  <a:lnTo>
                    <a:pt x="1047" y="547"/>
                  </a:lnTo>
                  <a:lnTo>
                    <a:pt x="1033" y="551"/>
                  </a:lnTo>
                  <a:lnTo>
                    <a:pt x="1018" y="552"/>
                  </a:lnTo>
                  <a:lnTo>
                    <a:pt x="1010" y="577"/>
                  </a:lnTo>
                  <a:lnTo>
                    <a:pt x="1025" y="587"/>
                  </a:lnTo>
                  <a:lnTo>
                    <a:pt x="1041" y="596"/>
                  </a:lnTo>
                  <a:lnTo>
                    <a:pt x="1058" y="603"/>
                  </a:lnTo>
                  <a:lnTo>
                    <a:pt x="1074" y="609"/>
                  </a:lnTo>
                  <a:lnTo>
                    <a:pt x="1092" y="614"/>
                  </a:lnTo>
                  <a:lnTo>
                    <a:pt x="1112" y="617"/>
                  </a:lnTo>
                  <a:lnTo>
                    <a:pt x="1129" y="618"/>
                  </a:lnTo>
                  <a:lnTo>
                    <a:pt x="1149" y="617"/>
                  </a:lnTo>
                  <a:lnTo>
                    <a:pt x="1151" y="617"/>
                  </a:lnTo>
                  <a:lnTo>
                    <a:pt x="1149" y="631"/>
                  </a:lnTo>
                  <a:lnTo>
                    <a:pt x="1146" y="643"/>
                  </a:lnTo>
                  <a:lnTo>
                    <a:pt x="1140" y="654"/>
                  </a:lnTo>
                  <a:lnTo>
                    <a:pt x="1135" y="666"/>
                  </a:lnTo>
                  <a:lnTo>
                    <a:pt x="1128" y="677"/>
                  </a:lnTo>
                  <a:lnTo>
                    <a:pt x="1120" y="687"/>
                  </a:lnTo>
                  <a:lnTo>
                    <a:pt x="1112" y="697"/>
                  </a:lnTo>
                  <a:lnTo>
                    <a:pt x="1102" y="706"/>
                  </a:lnTo>
                  <a:lnTo>
                    <a:pt x="1091" y="714"/>
                  </a:lnTo>
                  <a:lnTo>
                    <a:pt x="1080" y="721"/>
                  </a:lnTo>
                  <a:lnTo>
                    <a:pt x="1068" y="728"/>
                  </a:lnTo>
                  <a:lnTo>
                    <a:pt x="1055" y="734"/>
                  </a:lnTo>
                  <a:lnTo>
                    <a:pt x="1041" y="739"/>
                  </a:lnTo>
                  <a:lnTo>
                    <a:pt x="1028" y="743"/>
                  </a:lnTo>
                  <a:lnTo>
                    <a:pt x="1014" y="746"/>
                  </a:lnTo>
                  <a:lnTo>
                    <a:pt x="999" y="747"/>
                  </a:lnTo>
                  <a:lnTo>
                    <a:pt x="984" y="747"/>
                  </a:lnTo>
                  <a:lnTo>
                    <a:pt x="970" y="747"/>
                  </a:lnTo>
                  <a:lnTo>
                    <a:pt x="958" y="746"/>
                  </a:lnTo>
                  <a:lnTo>
                    <a:pt x="944" y="743"/>
                  </a:lnTo>
                  <a:lnTo>
                    <a:pt x="930" y="740"/>
                  </a:lnTo>
                  <a:lnTo>
                    <a:pt x="918" y="736"/>
                  </a:lnTo>
                  <a:lnTo>
                    <a:pt x="905" y="732"/>
                  </a:lnTo>
                  <a:lnTo>
                    <a:pt x="893" y="727"/>
                  </a:lnTo>
                  <a:lnTo>
                    <a:pt x="878" y="736"/>
                  </a:lnTo>
                  <a:lnTo>
                    <a:pt x="861" y="743"/>
                  </a:lnTo>
                  <a:lnTo>
                    <a:pt x="846" y="750"/>
                  </a:lnTo>
                  <a:lnTo>
                    <a:pt x="829" y="757"/>
                  </a:lnTo>
                  <a:lnTo>
                    <a:pt x="812" y="761"/>
                  </a:lnTo>
                  <a:lnTo>
                    <a:pt x="794" y="764"/>
                  </a:lnTo>
                  <a:lnTo>
                    <a:pt x="776" y="767"/>
                  </a:lnTo>
                  <a:lnTo>
                    <a:pt x="757" y="767"/>
                  </a:lnTo>
                  <a:lnTo>
                    <a:pt x="738" y="767"/>
                  </a:lnTo>
                  <a:lnTo>
                    <a:pt x="719" y="764"/>
                  </a:lnTo>
                  <a:lnTo>
                    <a:pt x="699" y="760"/>
                  </a:lnTo>
                  <a:lnTo>
                    <a:pt x="681" y="756"/>
                  </a:lnTo>
                  <a:lnTo>
                    <a:pt x="664" y="749"/>
                  </a:lnTo>
                  <a:lnTo>
                    <a:pt x="646" y="740"/>
                  </a:lnTo>
                  <a:lnTo>
                    <a:pt x="629" y="732"/>
                  </a:lnTo>
                  <a:lnTo>
                    <a:pt x="614" y="721"/>
                  </a:lnTo>
                  <a:lnTo>
                    <a:pt x="600" y="728"/>
                  </a:lnTo>
                  <a:lnTo>
                    <a:pt x="587" y="734"/>
                  </a:lnTo>
                  <a:lnTo>
                    <a:pt x="573" y="739"/>
                  </a:lnTo>
                  <a:lnTo>
                    <a:pt x="559" y="742"/>
                  </a:lnTo>
                  <a:lnTo>
                    <a:pt x="544" y="745"/>
                  </a:lnTo>
                  <a:lnTo>
                    <a:pt x="529" y="747"/>
                  </a:lnTo>
                  <a:lnTo>
                    <a:pt x="514" y="747"/>
                  </a:lnTo>
                  <a:lnTo>
                    <a:pt x="499" y="747"/>
                  </a:lnTo>
                  <a:lnTo>
                    <a:pt x="484" y="746"/>
                  </a:lnTo>
                  <a:lnTo>
                    <a:pt x="469" y="743"/>
                  </a:lnTo>
                  <a:lnTo>
                    <a:pt x="455" y="739"/>
                  </a:lnTo>
                  <a:lnTo>
                    <a:pt x="441" y="734"/>
                  </a:lnTo>
                  <a:lnTo>
                    <a:pt x="429" y="728"/>
                  </a:lnTo>
                  <a:lnTo>
                    <a:pt x="416" y="721"/>
                  </a:lnTo>
                  <a:lnTo>
                    <a:pt x="405" y="714"/>
                  </a:lnTo>
                  <a:lnTo>
                    <a:pt x="394" y="706"/>
                  </a:lnTo>
                  <a:lnTo>
                    <a:pt x="385" y="697"/>
                  </a:lnTo>
                  <a:lnTo>
                    <a:pt x="376" y="687"/>
                  </a:lnTo>
                  <a:lnTo>
                    <a:pt x="368" y="677"/>
                  </a:lnTo>
                  <a:lnTo>
                    <a:pt x="361" y="666"/>
                  </a:lnTo>
                  <a:lnTo>
                    <a:pt x="356" y="654"/>
                  </a:lnTo>
                  <a:lnTo>
                    <a:pt x="352" y="643"/>
                  </a:lnTo>
                  <a:lnTo>
                    <a:pt x="348" y="631"/>
                  </a:lnTo>
                  <a:lnTo>
                    <a:pt x="345" y="617"/>
                  </a:lnTo>
                  <a:lnTo>
                    <a:pt x="348" y="617"/>
                  </a:lnTo>
                  <a:lnTo>
                    <a:pt x="370" y="618"/>
                  </a:lnTo>
                  <a:lnTo>
                    <a:pt x="390" y="615"/>
                  </a:lnTo>
                  <a:lnTo>
                    <a:pt x="411" y="613"/>
                  </a:lnTo>
                  <a:lnTo>
                    <a:pt x="430" y="606"/>
                  </a:lnTo>
                  <a:lnTo>
                    <a:pt x="449" y="599"/>
                  </a:lnTo>
                  <a:lnTo>
                    <a:pt x="469" y="589"/>
                  </a:lnTo>
                  <a:lnTo>
                    <a:pt x="485" y="578"/>
                  </a:lnTo>
                  <a:lnTo>
                    <a:pt x="500" y="566"/>
                  </a:lnTo>
                  <a:lnTo>
                    <a:pt x="496" y="552"/>
                  </a:lnTo>
                  <a:lnTo>
                    <a:pt x="478" y="552"/>
                  </a:lnTo>
                  <a:lnTo>
                    <a:pt x="469" y="552"/>
                  </a:lnTo>
                  <a:lnTo>
                    <a:pt x="462" y="551"/>
                  </a:lnTo>
                  <a:lnTo>
                    <a:pt x="453" y="548"/>
                  </a:lnTo>
                  <a:lnTo>
                    <a:pt x="447" y="544"/>
                  </a:lnTo>
                  <a:lnTo>
                    <a:pt x="440" y="540"/>
                  </a:lnTo>
                  <a:lnTo>
                    <a:pt x="434" y="534"/>
                  </a:lnTo>
                  <a:lnTo>
                    <a:pt x="430" y="529"/>
                  </a:lnTo>
                  <a:lnTo>
                    <a:pt x="425" y="521"/>
                  </a:lnTo>
                  <a:lnTo>
                    <a:pt x="422" y="511"/>
                  </a:lnTo>
                  <a:lnTo>
                    <a:pt x="418" y="501"/>
                  </a:lnTo>
                  <a:lnTo>
                    <a:pt x="416" y="489"/>
                  </a:lnTo>
                  <a:lnTo>
                    <a:pt x="414" y="477"/>
                  </a:lnTo>
                  <a:lnTo>
                    <a:pt x="412" y="445"/>
                  </a:lnTo>
                  <a:lnTo>
                    <a:pt x="412" y="372"/>
                  </a:lnTo>
                  <a:lnTo>
                    <a:pt x="412" y="353"/>
                  </a:lnTo>
                  <a:lnTo>
                    <a:pt x="414" y="335"/>
                  </a:lnTo>
                  <a:lnTo>
                    <a:pt x="419" y="299"/>
                  </a:lnTo>
                  <a:lnTo>
                    <a:pt x="427" y="264"/>
                  </a:lnTo>
                  <a:lnTo>
                    <a:pt x="438" y="231"/>
                  </a:lnTo>
                  <a:lnTo>
                    <a:pt x="452" y="198"/>
                  </a:lnTo>
                  <a:lnTo>
                    <a:pt x="469" y="168"/>
                  </a:lnTo>
                  <a:lnTo>
                    <a:pt x="486" y="139"/>
                  </a:lnTo>
                  <a:lnTo>
                    <a:pt x="508" y="113"/>
                  </a:lnTo>
                  <a:lnTo>
                    <a:pt x="532" y="88"/>
                  </a:lnTo>
                  <a:lnTo>
                    <a:pt x="544" y="77"/>
                  </a:lnTo>
                  <a:lnTo>
                    <a:pt x="558" y="66"/>
                  </a:lnTo>
                  <a:lnTo>
                    <a:pt x="572" y="56"/>
                  </a:lnTo>
                  <a:lnTo>
                    <a:pt x="585" y="47"/>
                  </a:lnTo>
                  <a:lnTo>
                    <a:pt x="600" y="38"/>
                  </a:lnTo>
                  <a:lnTo>
                    <a:pt x="616" y="30"/>
                  </a:lnTo>
                  <a:lnTo>
                    <a:pt x="631" y="23"/>
                  </a:lnTo>
                  <a:lnTo>
                    <a:pt x="646" y="18"/>
                  </a:lnTo>
                  <a:lnTo>
                    <a:pt x="662" y="12"/>
                  </a:lnTo>
                  <a:lnTo>
                    <a:pt x="679" y="8"/>
                  </a:lnTo>
                  <a:lnTo>
                    <a:pt x="697" y="5"/>
                  </a:lnTo>
                  <a:lnTo>
                    <a:pt x="713" y="3"/>
                  </a:lnTo>
                  <a:lnTo>
                    <a:pt x="731" y="1"/>
                  </a:lnTo>
                  <a:lnTo>
                    <a:pt x="749" y="0"/>
                  </a:lnTo>
                  <a:lnTo>
                    <a:pt x="767" y="1"/>
                  </a:lnTo>
                  <a:lnTo>
                    <a:pt x="785" y="3"/>
                  </a:lnTo>
                  <a:lnTo>
                    <a:pt x="801" y="5"/>
                  </a:lnTo>
                  <a:lnTo>
                    <a:pt x="819" y="8"/>
                  </a:lnTo>
                  <a:lnTo>
                    <a:pt x="835" y="12"/>
                  </a:lnTo>
                  <a:lnTo>
                    <a:pt x="852" y="18"/>
                  </a:lnTo>
                  <a:lnTo>
                    <a:pt x="867" y="23"/>
                  </a:lnTo>
                  <a:lnTo>
                    <a:pt x="882" y="30"/>
                  </a:lnTo>
                  <a:lnTo>
                    <a:pt x="897" y="38"/>
                  </a:lnTo>
                  <a:lnTo>
                    <a:pt x="912" y="47"/>
                  </a:lnTo>
                  <a:lnTo>
                    <a:pt x="926" y="56"/>
                  </a:lnTo>
                  <a:lnTo>
                    <a:pt x="940" y="66"/>
                  </a:lnTo>
                  <a:lnTo>
                    <a:pt x="954" y="77"/>
                  </a:lnTo>
                  <a:lnTo>
                    <a:pt x="966" y="88"/>
                  </a:lnTo>
                  <a:lnTo>
                    <a:pt x="989" y="113"/>
                  </a:lnTo>
                  <a:lnTo>
                    <a:pt x="1011" y="139"/>
                  </a:lnTo>
                  <a:lnTo>
                    <a:pt x="1029" y="168"/>
                  </a:lnTo>
                  <a:lnTo>
                    <a:pt x="1046" y="198"/>
                  </a:lnTo>
                  <a:lnTo>
                    <a:pt x="1059" y="231"/>
                  </a:lnTo>
                  <a:lnTo>
                    <a:pt x="1070" y="264"/>
                  </a:lnTo>
                  <a:lnTo>
                    <a:pt x="1079" y="299"/>
                  </a:lnTo>
                  <a:lnTo>
                    <a:pt x="1084" y="335"/>
                  </a:lnTo>
                  <a:lnTo>
                    <a:pt x="1085" y="353"/>
                  </a:lnTo>
                  <a:lnTo>
                    <a:pt x="1085" y="372"/>
                  </a:lnTo>
                  <a:close/>
                  <a:moveTo>
                    <a:pt x="911" y="199"/>
                  </a:moveTo>
                  <a:lnTo>
                    <a:pt x="911" y="199"/>
                  </a:lnTo>
                  <a:lnTo>
                    <a:pt x="925" y="217"/>
                  </a:lnTo>
                  <a:lnTo>
                    <a:pt x="938" y="236"/>
                  </a:lnTo>
                  <a:lnTo>
                    <a:pt x="948" y="257"/>
                  </a:lnTo>
                  <a:lnTo>
                    <a:pt x="958" y="278"/>
                  </a:lnTo>
                  <a:lnTo>
                    <a:pt x="966" y="301"/>
                  </a:lnTo>
                  <a:lnTo>
                    <a:pt x="971" y="326"/>
                  </a:lnTo>
                  <a:lnTo>
                    <a:pt x="974" y="350"/>
                  </a:lnTo>
                  <a:lnTo>
                    <a:pt x="976" y="376"/>
                  </a:lnTo>
                  <a:lnTo>
                    <a:pt x="976" y="463"/>
                  </a:lnTo>
                  <a:lnTo>
                    <a:pt x="974" y="489"/>
                  </a:lnTo>
                  <a:lnTo>
                    <a:pt x="970" y="514"/>
                  </a:lnTo>
                  <a:lnTo>
                    <a:pt x="965" y="539"/>
                  </a:lnTo>
                  <a:lnTo>
                    <a:pt x="958" y="561"/>
                  </a:lnTo>
                  <a:lnTo>
                    <a:pt x="948" y="582"/>
                  </a:lnTo>
                  <a:lnTo>
                    <a:pt x="937" y="603"/>
                  </a:lnTo>
                  <a:lnTo>
                    <a:pt x="925" y="622"/>
                  </a:lnTo>
                  <a:lnTo>
                    <a:pt x="911" y="640"/>
                  </a:lnTo>
                  <a:lnTo>
                    <a:pt x="894" y="657"/>
                  </a:lnTo>
                  <a:lnTo>
                    <a:pt x="878" y="670"/>
                  </a:lnTo>
                  <a:lnTo>
                    <a:pt x="860" y="683"/>
                  </a:lnTo>
                  <a:lnTo>
                    <a:pt x="841" y="692"/>
                  </a:lnTo>
                  <a:lnTo>
                    <a:pt x="822" y="701"/>
                  </a:lnTo>
                  <a:lnTo>
                    <a:pt x="801" y="708"/>
                  </a:lnTo>
                  <a:lnTo>
                    <a:pt x="779" y="710"/>
                  </a:lnTo>
                  <a:lnTo>
                    <a:pt x="757" y="712"/>
                  </a:lnTo>
                  <a:lnTo>
                    <a:pt x="735" y="710"/>
                  </a:lnTo>
                  <a:lnTo>
                    <a:pt x="714" y="708"/>
                  </a:lnTo>
                  <a:lnTo>
                    <a:pt x="694" y="701"/>
                  </a:lnTo>
                  <a:lnTo>
                    <a:pt x="673" y="692"/>
                  </a:lnTo>
                  <a:lnTo>
                    <a:pt x="655" y="683"/>
                  </a:lnTo>
                  <a:lnTo>
                    <a:pt x="636" y="670"/>
                  </a:lnTo>
                  <a:lnTo>
                    <a:pt x="620" y="657"/>
                  </a:lnTo>
                  <a:lnTo>
                    <a:pt x="605" y="640"/>
                  </a:lnTo>
                  <a:lnTo>
                    <a:pt x="591" y="622"/>
                  </a:lnTo>
                  <a:lnTo>
                    <a:pt x="577" y="603"/>
                  </a:lnTo>
                  <a:lnTo>
                    <a:pt x="566" y="582"/>
                  </a:lnTo>
                  <a:lnTo>
                    <a:pt x="556" y="561"/>
                  </a:lnTo>
                  <a:lnTo>
                    <a:pt x="550" y="539"/>
                  </a:lnTo>
                  <a:lnTo>
                    <a:pt x="544" y="514"/>
                  </a:lnTo>
                  <a:lnTo>
                    <a:pt x="540" y="489"/>
                  </a:lnTo>
                  <a:lnTo>
                    <a:pt x="540" y="463"/>
                  </a:lnTo>
                  <a:lnTo>
                    <a:pt x="540" y="434"/>
                  </a:lnTo>
                  <a:lnTo>
                    <a:pt x="569" y="438"/>
                  </a:lnTo>
                  <a:lnTo>
                    <a:pt x="599" y="440"/>
                  </a:lnTo>
                  <a:lnTo>
                    <a:pt x="627" y="438"/>
                  </a:lnTo>
                  <a:lnTo>
                    <a:pt x="654" y="434"/>
                  </a:lnTo>
                  <a:lnTo>
                    <a:pt x="680" y="429"/>
                  </a:lnTo>
                  <a:lnTo>
                    <a:pt x="705" y="422"/>
                  </a:lnTo>
                  <a:lnTo>
                    <a:pt x="730" y="412"/>
                  </a:lnTo>
                  <a:lnTo>
                    <a:pt x="753" y="400"/>
                  </a:lnTo>
                  <a:lnTo>
                    <a:pt x="776" y="386"/>
                  </a:lnTo>
                  <a:lnTo>
                    <a:pt x="797" y="371"/>
                  </a:lnTo>
                  <a:lnTo>
                    <a:pt x="818" y="354"/>
                  </a:lnTo>
                  <a:lnTo>
                    <a:pt x="835" y="337"/>
                  </a:lnTo>
                  <a:lnTo>
                    <a:pt x="852" y="316"/>
                  </a:lnTo>
                  <a:lnTo>
                    <a:pt x="868" y="295"/>
                  </a:lnTo>
                  <a:lnTo>
                    <a:pt x="882" y="273"/>
                  </a:lnTo>
                  <a:lnTo>
                    <a:pt x="893" y="250"/>
                  </a:lnTo>
                  <a:lnTo>
                    <a:pt x="903" y="225"/>
                  </a:lnTo>
                  <a:lnTo>
                    <a:pt x="911" y="199"/>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000000"/>
                </a:solidFill>
              </a:endParaRPr>
            </a:p>
          </p:txBody>
        </p:sp>
        <p:sp>
          <p:nvSpPr>
            <p:cNvPr id="15" name="Freeform 108"/>
            <p:cNvSpPr>
              <a:spLocks noChangeAspect="1" noEditPoints="1"/>
            </p:cNvSpPr>
            <p:nvPr/>
          </p:nvSpPr>
          <p:spPr bwMode="gray">
            <a:xfrm>
              <a:off x="6097913" y="4932759"/>
              <a:ext cx="128183" cy="359148"/>
            </a:xfrm>
            <a:custGeom>
              <a:avLst/>
              <a:gdLst>
                <a:gd name="T0" fmla="*/ 2147483647 w 1700"/>
                <a:gd name="T1" fmla="*/ 2147483647 h 4763"/>
                <a:gd name="T2" fmla="*/ 2147483647 w 1700"/>
                <a:gd name="T3" fmla="*/ 2147483647 h 4763"/>
                <a:gd name="T4" fmla="*/ 2147483647 w 1700"/>
                <a:gd name="T5" fmla="*/ 2147483647 h 4763"/>
                <a:gd name="T6" fmla="*/ 2147483647 w 1700"/>
                <a:gd name="T7" fmla="*/ 2147483647 h 4763"/>
                <a:gd name="T8" fmla="*/ 2147483647 w 1700"/>
                <a:gd name="T9" fmla="*/ 2147483647 h 4763"/>
                <a:gd name="T10" fmla="*/ 2147483647 w 1700"/>
                <a:gd name="T11" fmla="*/ 2147483647 h 4763"/>
                <a:gd name="T12" fmla="*/ 2147483647 w 1700"/>
                <a:gd name="T13" fmla="*/ 2147483647 h 4763"/>
                <a:gd name="T14" fmla="*/ 2147483647 w 1700"/>
                <a:gd name="T15" fmla="*/ 2147483647 h 4763"/>
                <a:gd name="T16" fmla="*/ 2147483647 w 1700"/>
                <a:gd name="T17" fmla="*/ 2147483647 h 4763"/>
                <a:gd name="T18" fmla="*/ 2147483647 w 1700"/>
                <a:gd name="T19" fmla="*/ 2147483647 h 4763"/>
                <a:gd name="T20" fmla="*/ 2147483647 w 1700"/>
                <a:gd name="T21" fmla="*/ 2147483647 h 4763"/>
                <a:gd name="T22" fmla="*/ 2147483647 w 1700"/>
                <a:gd name="T23" fmla="*/ 2147483647 h 4763"/>
                <a:gd name="T24" fmla="*/ 2147483647 w 1700"/>
                <a:gd name="T25" fmla="*/ 2147483647 h 4763"/>
                <a:gd name="T26" fmla="*/ 2147483647 w 1700"/>
                <a:gd name="T27" fmla="*/ 2147483647 h 4763"/>
                <a:gd name="T28" fmla="*/ 2147483647 w 1700"/>
                <a:gd name="T29" fmla="*/ 2147483647 h 4763"/>
                <a:gd name="T30" fmla="*/ 2147483647 w 1700"/>
                <a:gd name="T31" fmla="*/ 2147483647 h 4763"/>
                <a:gd name="T32" fmla="*/ 2147483647 w 1700"/>
                <a:gd name="T33" fmla="*/ 2147483647 h 4763"/>
                <a:gd name="T34" fmla="*/ 2147483647 w 1700"/>
                <a:gd name="T35" fmla="*/ 2147483647 h 4763"/>
                <a:gd name="T36" fmla="*/ 2147483647 w 1700"/>
                <a:gd name="T37" fmla="*/ 2147483647 h 4763"/>
                <a:gd name="T38" fmla="*/ 2147483647 w 1700"/>
                <a:gd name="T39" fmla="*/ 2147483647 h 4763"/>
                <a:gd name="T40" fmla="*/ 2147483647 w 1700"/>
                <a:gd name="T41" fmla="*/ 0 h 4763"/>
                <a:gd name="T42" fmla="*/ 2147483647 w 1700"/>
                <a:gd name="T43" fmla="*/ 2147483647 h 4763"/>
                <a:gd name="T44" fmla="*/ 2147483647 w 1700"/>
                <a:gd name="T45" fmla="*/ 2147483647 h 4763"/>
                <a:gd name="T46" fmla="*/ 2147483647 w 1700"/>
                <a:gd name="T47" fmla="*/ 2147483647 h 4763"/>
                <a:gd name="T48" fmla="*/ 2147483647 w 1700"/>
                <a:gd name="T49" fmla="*/ 2147483647 h 4763"/>
                <a:gd name="T50" fmla="*/ 2147483647 w 1700"/>
                <a:gd name="T51" fmla="*/ 2147483647 h 4763"/>
                <a:gd name="T52" fmla="*/ 2147483647 w 1700"/>
                <a:gd name="T53" fmla="*/ 2147483647 h 4763"/>
                <a:gd name="T54" fmla="*/ 2147483647 w 1700"/>
                <a:gd name="T55" fmla="*/ 2147483647 h 4763"/>
                <a:gd name="T56" fmla="*/ 2147483647 w 1700"/>
                <a:gd name="T57" fmla="*/ 2147483647 h 4763"/>
                <a:gd name="T58" fmla="*/ 2147483647 w 1700"/>
                <a:gd name="T59" fmla="*/ 2147483647 h 4763"/>
                <a:gd name="T60" fmla="*/ 2147483647 w 1700"/>
                <a:gd name="T61" fmla="*/ 2147483647 h 4763"/>
                <a:gd name="T62" fmla="*/ 2147483647 w 1700"/>
                <a:gd name="T63" fmla="*/ 2147483647 h 4763"/>
                <a:gd name="T64" fmla="*/ 2147483647 w 1700"/>
                <a:gd name="T65" fmla="*/ 2147483647 h 4763"/>
                <a:gd name="T66" fmla="*/ 2147483647 w 1700"/>
                <a:gd name="T67" fmla="*/ 2147483647 h 4763"/>
                <a:gd name="T68" fmla="*/ 2147483647 w 1700"/>
                <a:gd name="T69" fmla="*/ 2147483647 h 4763"/>
                <a:gd name="T70" fmla="*/ 2147483647 w 1700"/>
                <a:gd name="T71" fmla="*/ 2147483647 h 4763"/>
                <a:gd name="T72" fmla="*/ 2147483647 w 1700"/>
                <a:gd name="T73" fmla="*/ 2147483647 h 4763"/>
                <a:gd name="T74" fmla="*/ 2147483647 w 1700"/>
                <a:gd name="T75" fmla="*/ 2147483647 h 4763"/>
                <a:gd name="T76" fmla="*/ 2147483647 w 1700"/>
                <a:gd name="T77" fmla="*/ 2147483647 h 4763"/>
                <a:gd name="T78" fmla="*/ 2147483647 w 1700"/>
                <a:gd name="T79" fmla="*/ 2147483647 h 4763"/>
                <a:gd name="T80" fmla="*/ 2147483647 w 1700"/>
                <a:gd name="T81" fmla="*/ 2147483647 h 4763"/>
                <a:gd name="T82" fmla="*/ 2147483647 w 1700"/>
                <a:gd name="T83" fmla="*/ 2147483647 h 4763"/>
                <a:gd name="T84" fmla="*/ 2147483647 w 1700"/>
                <a:gd name="T85" fmla="*/ 2147483647 h 4763"/>
                <a:gd name="T86" fmla="*/ 2147483647 w 1700"/>
                <a:gd name="T87" fmla="*/ 2147483647 h 4763"/>
                <a:gd name="T88" fmla="*/ 2147483647 w 1700"/>
                <a:gd name="T89" fmla="*/ 2147483647 h 4763"/>
                <a:gd name="T90" fmla="*/ 0 w 1700"/>
                <a:gd name="T91" fmla="*/ 2147483647 h 4763"/>
                <a:gd name="T92" fmla="*/ 2147483647 w 1700"/>
                <a:gd name="T93" fmla="*/ 2147483647 h 4763"/>
                <a:gd name="T94" fmla="*/ 2147483647 w 1700"/>
                <a:gd name="T95" fmla="*/ 2147483647 h 4763"/>
                <a:gd name="T96" fmla="*/ 2147483647 w 1700"/>
                <a:gd name="T97" fmla="*/ 2147483647 h 4763"/>
                <a:gd name="T98" fmla="*/ 2147483647 w 1700"/>
                <a:gd name="T99" fmla="*/ 2147483647 h 4763"/>
                <a:gd name="T100" fmla="*/ 2147483647 w 1700"/>
                <a:gd name="T101" fmla="*/ 2147483647 h 4763"/>
                <a:gd name="T102" fmla="*/ 2147483647 w 1700"/>
                <a:gd name="T103" fmla="*/ 2147483647 h 4763"/>
                <a:gd name="T104" fmla="*/ 2147483647 w 1700"/>
                <a:gd name="T105" fmla="*/ 2147483647 h 4763"/>
                <a:gd name="T106" fmla="*/ 2147483647 w 1700"/>
                <a:gd name="T107" fmla="*/ 2147483647 h 4763"/>
                <a:gd name="T108" fmla="*/ 2147483647 w 1700"/>
                <a:gd name="T109" fmla="*/ 2147483647 h 4763"/>
                <a:gd name="T110" fmla="*/ 2147483647 w 1700"/>
                <a:gd name="T111" fmla="*/ 2147483647 h 4763"/>
                <a:gd name="T112" fmla="*/ 2147483647 w 1700"/>
                <a:gd name="T113" fmla="*/ 2147483647 h 4763"/>
                <a:gd name="T114" fmla="*/ 2147483647 w 1700"/>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00"/>
                <a:gd name="T175" fmla="*/ 0 h 4763"/>
                <a:gd name="T176" fmla="*/ 1700 w 1700"/>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00" h="4763">
                  <a:moveTo>
                    <a:pt x="638" y="216"/>
                  </a:moveTo>
                  <a:lnTo>
                    <a:pt x="638" y="216"/>
                  </a:lnTo>
                  <a:lnTo>
                    <a:pt x="634" y="235"/>
                  </a:lnTo>
                  <a:lnTo>
                    <a:pt x="630" y="255"/>
                  </a:lnTo>
                  <a:lnTo>
                    <a:pt x="628" y="276"/>
                  </a:lnTo>
                  <a:lnTo>
                    <a:pt x="628" y="297"/>
                  </a:lnTo>
                  <a:lnTo>
                    <a:pt x="628" y="368"/>
                  </a:lnTo>
                  <a:lnTo>
                    <a:pt x="628" y="393"/>
                  </a:lnTo>
                  <a:lnTo>
                    <a:pt x="632" y="418"/>
                  </a:lnTo>
                  <a:lnTo>
                    <a:pt x="637" y="442"/>
                  </a:lnTo>
                  <a:lnTo>
                    <a:pt x="645" y="465"/>
                  </a:lnTo>
                  <a:lnTo>
                    <a:pt x="653" y="486"/>
                  </a:lnTo>
                  <a:lnTo>
                    <a:pt x="665" y="506"/>
                  </a:lnTo>
                  <a:lnTo>
                    <a:pt x="677" y="525"/>
                  </a:lnTo>
                  <a:lnTo>
                    <a:pt x="691" y="542"/>
                  </a:lnTo>
                  <a:lnTo>
                    <a:pt x="706" y="558"/>
                  </a:lnTo>
                  <a:lnTo>
                    <a:pt x="723" y="571"/>
                  </a:lnTo>
                  <a:lnTo>
                    <a:pt x="741" y="583"/>
                  </a:lnTo>
                  <a:lnTo>
                    <a:pt x="759" y="594"/>
                  </a:lnTo>
                  <a:lnTo>
                    <a:pt x="778" y="602"/>
                  </a:lnTo>
                  <a:lnTo>
                    <a:pt x="799" y="607"/>
                  </a:lnTo>
                  <a:lnTo>
                    <a:pt x="819" y="611"/>
                  </a:lnTo>
                  <a:lnTo>
                    <a:pt x="841" y="612"/>
                  </a:lnTo>
                  <a:lnTo>
                    <a:pt x="863" y="611"/>
                  </a:lnTo>
                  <a:lnTo>
                    <a:pt x="883" y="607"/>
                  </a:lnTo>
                  <a:lnTo>
                    <a:pt x="904" y="602"/>
                  </a:lnTo>
                  <a:lnTo>
                    <a:pt x="922" y="594"/>
                  </a:lnTo>
                  <a:lnTo>
                    <a:pt x="941" y="583"/>
                  </a:lnTo>
                  <a:lnTo>
                    <a:pt x="959" y="571"/>
                  </a:lnTo>
                  <a:lnTo>
                    <a:pt x="975" y="558"/>
                  </a:lnTo>
                  <a:lnTo>
                    <a:pt x="990" y="542"/>
                  </a:lnTo>
                  <a:lnTo>
                    <a:pt x="1005" y="525"/>
                  </a:lnTo>
                  <a:lnTo>
                    <a:pt x="1017" y="506"/>
                  </a:lnTo>
                  <a:lnTo>
                    <a:pt x="1028" y="486"/>
                  </a:lnTo>
                  <a:lnTo>
                    <a:pt x="1036" y="465"/>
                  </a:lnTo>
                  <a:lnTo>
                    <a:pt x="1044" y="442"/>
                  </a:lnTo>
                  <a:lnTo>
                    <a:pt x="1050" y="418"/>
                  </a:lnTo>
                  <a:lnTo>
                    <a:pt x="1054" y="393"/>
                  </a:lnTo>
                  <a:lnTo>
                    <a:pt x="1054" y="368"/>
                  </a:lnTo>
                  <a:lnTo>
                    <a:pt x="1054" y="297"/>
                  </a:lnTo>
                  <a:lnTo>
                    <a:pt x="1054" y="274"/>
                  </a:lnTo>
                  <a:lnTo>
                    <a:pt x="1051" y="251"/>
                  </a:lnTo>
                  <a:lnTo>
                    <a:pt x="1046" y="230"/>
                  </a:lnTo>
                  <a:lnTo>
                    <a:pt x="1040" y="208"/>
                  </a:lnTo>
                  <a:lnTo>
                    <a:pt x="1032" y="198"/>
                  </a:lnTo>
                  <a:lnTo>
                    <a:pt x="1025" y="189"/>
                  </a:lnTo>
                  <a:lnTo>
                    <a:pt x="1017" y="179"/>
                  </a:lnTo>
                  <a:lnTo>
                    <a:pt x="1007" y="171"/>
                  </a:lnTo>
                  <a:lnTo>
                    <a:pt x="997" y="163"/>
                  </a:lnTo>
                  <a:lnTo>
                    <a:pt x="986" y="157"/>
                  </a:lnTo>
                  <a:lnTo>
                    <a:pt x="963" y="145"/>
                  </a:lnTo>
                  <a:lnTo>
                    <a:pt x="952" y="158"/>
                  </a:lnTo>
                  <a:lnTo>
                    <a:pt x="938" y="170"/>
                  </a:lnTo>
                  <a:lnTo>
                    <a:pt x="924" y="181"/>
                  </a:lnTo>
                  <a:lnTo>
                    <a:pt x="908" y="190"/>
                  </a:lnTo>
                  <a:lnTo>
                    <a:pt x="892" y="197"/>
                  </a:lnTo>
                  <a:lnTo>
                    <a:pt x="873" y="202"/>
                  </a:lnTo>
                  <a:lnTo>
                    <a:pt x="855" y="206"/>
                  </a:lnTo>
                  <a:lnTo>
                    <a:pt x="836" y="207"/>
                  </a:lnTo>
                  <a:lnTo>
                    <a:pt x="817" y="206"/>
                  </a:lnTo>
                  <a:lnTo>
                    <a:pt x="800" y="203"/>
                  </a:lnTo>
                  <a:lnTo>
                    <a:pt x="783" y="198"/>
                  </a:lnTo>
                  <a:lnTo>
                    <a:pt x="767" y="191"/>
                  </a:lnTo>
                  <a:lnTo>
                    <a:pt x="751" y="183"/>
                  </a:lnTo>
                  <a:lnTo>
                    <a:pt x="737" y="173"/>
                  </a:lnTo>
                  <a:lnTo>
                    <a:pt x="725" y="162"/>
                  </a:lnTo>
                  <a:lnTo>
                    <a:pt x="713" y="149"/>
                  </a:lnTo>
                  <a:lnTo>
                    <a:pt x="690" y="162"/>
                  </a:lnTo>
                  <a:lnTo>
                    <a:pt x="679" y="169"/>
                  </a:lnTo>
                  <a:lnTo>
                    <a:pt x="670" y="178"/>
                  </a:lnTo>
                  <a:lnTo>
                    <a:pt x="661" y="186"/>
                  </a:lnTo>
                  <a:lnTo>
                    <a:pt x="653" y="195"/>
                  </a:lnTo>
                  <a:lnTo>
                    <a:pt x="645" y="206"/>
                  </a:lnTo>
                  <a:lnTo>
                    <a:pt x="638" y="216"/>
                  </a:lnTo>
                  <a:close/>
                  <a:moveTo>
                    <a:pt x="841" y="0"/>
                  </a:moveTo>
                  <a:lnTo>
                    <a:pt x="841" y="0"/>
                  </a:lnTo>
                  <a:lnTo>
                    <a:pt x="868" y="1"/>
                  </a:lnTo>
                  <a:lnTo>
                    <a:pt x="896" y="5"/>
                  </a:lnTo>
                  <a:lnTo>
                    <a:pt x="921" y="13"/>
                  </a:lnTo>
                  <a:lnTo>
                    <a:pt x="946" y="24"/>
                  </a:lnTo>
                  <a:lnTo>
                    <a:pt x="969" y="36"/>
                  </a:lnTo>
                  <a:lnTo>
                    <a:pt x="991" y="50"/>
                  </a:lnTo>
                  <a:lnTo>
                    <a:pt x="1011" y="68"/>
                  </a:lnTo>
                  <a:lnTo>
                    <a:pt x="1031" y="88"/>
                  </a:lnTo>
                  <a:lnTo>
                    <a:pt x="1047" y="109"/>
                  </a:lnTo>
                  <a:lnTo>
                    <a:pt x="1063" y="131"/>
                  </a:lnTo>
                  <a:lnTo>
                    <a:pt x="1076" y="157"/>
                  </a:lnTo>
                  <a:lnTo>
                    <a:pt x="1087" y="182"/>
                  </a:lnTo>
                  <a:lnTo>
                    <a:pt x="1096" y="210"/>
                  </a:lnTo>
                  <a:lnTo>
                    <a:pt x="1103" y="238"/>
                  </a:lnTo>
                  <a:lnTo>
                    <a:pt x="1107" y="267"/>
                  </a:lnTo>
                  <a:lnTo>
                    <a:pt x="1107" y="296"/>
                  </a:lnTo>
                  <a:lnTo>
                    <a:pt x="1108" y="340"/>
                  </a:lnTo>
                  <a:lnTo>
                    <a:pt x="1108" y="369"/>
                  </a:lnTo>
                  <a:lnTo>
                    <a:pt x="1108" y="380"/>
                  </a:lnTo>
                  <a:lnTo>
                    <a:pt x="1107" y="385"/>
                  </a:lnTo>
                  <a:lnTo>
                    <a:pt x="1105" y="413"/>
                  </a:lnTo>
                  <a:lnTo>
                    <a:pt x="1101" y="441"/>
                  </a:lnTo>
                  <a:lnTo>
                    <a:pt x="1095" y="467"/>
                  </a:lnTo>
                  <a:lnTo>
                    <a:pt x="1086" y="494"/>
                  </a:lnTo>
                  <a:lnTo>
                    <a:pt x="1074" y="518"/>
                  </a:lnTo>
                  <a:lnTo>
                    <a:pt x="1060" y="542"/>
                  </a:lnTo>
                  <a:lnTo>
                    <a:pt x="1044" y="563"/>
                  </a:lnTo>
                  <a:lnTo>
                    <a:pt x="1027" y="583"/>
                  </a:lnTo>
                  <a:lnTo>
                    <a:pt x="1009" y="602"/>
                  </a:lnTo>
                  <a:lnTo>
                    <a:pt x="989" y="617"/>
                  </a:lnTo>
                  <a:lnTo>
                    <a:pt x="966" y="631"/>
                  </a:lnTo>
                  <a:lnTo>
                    <a:pt x="944" y="643"/>
                  </a:lnTo>
                  <a:lnTo>
                    <a:pt x="918" y="652"/>
                  </a:lnTo>
                  <a:lnTo>
                    <a:pt x="893" y="660"/>
                  </a:lnTo>
                  <a:lnTo>
                    <a:pt x="868" y="664"/>
                  </a:lnTo>
                  <a:lnTo>
                    <a:pt x="841" y="665"/>
                  </a:lnTo>
                  <a:lnTo>
                    <a:pt x="814" y="664"/>
                  </a:lnTo>
                  <a:lnTo>
                    <a:pt x="788" y="660"/>
                  </a:lnTo>
                  <a:lnTo>
                    <a:pt x="763" y="652"/>
                  </a:lnTo>
                  <a:lnTo>
                    <a:pt x="738" y="643"/>
                  </a:lnTo>
                  <a:lnTo>
                    <a:pt x="715" y="631"/>
                  </a:lnTo>
                  <a:lnTo>
                    <a:pt x="693" y="617"/>
                  </a:lnTo>
                  <a:lnTo>
                    <a:pt x="673" y="602"/>
                  </a:lnTo>
                  <a:lnTo>
                    <a:pt x="654" y="583"/>
                  </a:lnTo>
                  <a:lnTo>
                    <a:pt x="637" y="563"/>
                  </a:lnTo>
                  <a:lnTo>
                    <a:pt x="621" y="542"/>
                  </a:lnTo>
                  <a:lnTo>
                    <a:pt x="608" y="518"/>
                  </a:lnTo>
                  <a:lnTo>
                    <a:pt x="596" y="494"/>
                  </a:lnTo>
                  <a:lnTo>
                    <a:pt x="587" y="467"/>
                  </a:lnTo>
                  <a:lnTo>
                    <a:pt x="580" y="441"/>
                  </a:lnTo>
                  <a:lnTo>
                    <a:pt x="576" y="413"/>
                  </a:lnTo>
                  <a:lnTo>
                    <a:pt x="575" y="385"/>
                  </a:lnTo>
                  <a:lnTo>
                    <a:pt x="573" y="380"/>
                  </a:lnTo>
                  <a:lnTo>
                    <a:pt x="573" y="369"/>
                  </a:lnTo>
                  <a:lnTo>
                    <a:pt x="573" y="340"/>
                  </a:lnTo>
                  <a:lnTo>
                    <a:pt x="575" y="297"/>
                  </a:lnTo>
                  <a:lnTo>
                    <a:pt x="576" y="267"/>
                  </a:lnTo>
                  <a:lnTo>
                    <a:pt x="579" y="238"/>
                  </a:lnTo>
                  <a:lnTo>
                    <a:pt x="585" y="210"/>
                  </a:lnTo>
                  <a:lnTo>
                    <a:pt x="595" y="182"/>
                  </a:lnTo>
                  <a:lnTo>
                    <a:pt x="605" y="157"/>
                  </a:lnTo>
                  <a:lnTo>
                    <a:pt x="618" y="131"/>
                  </a:lnTo>
                  <a:lnTo>
                    <a:pt x="634" y="109"/>
                  </a:lnTo>
                  <a:lnTo>
                    <a:pt x="650" y="88"/>
                  </a:lnTo>
                  <a:lnTo>
                    <a:pt x="670" y="69"/>
                  </a:lnTo>
                  <a:lnTo>
                    <a:pt x="690" y="50"/>
                  </a:lnTo>
                  <a:lnTo>
                    <a:pt x="713" y="36"/>
                  </a:lnTo>
                  <a:lnTo>
                    <a:pt x="735" y="24"/>
                  </a:lnTo>
                  <a:lnTo>
                    <a:pt x="760" y="13"/>
                  </a:lnTo>
                  <a:lnTo>
                    <a:pt x="786" y="5"/>
                  </a:lnTo>
                  <a:lnTo>
                    <a:pt x="814" y="1"/>
                  </a:lnTo>
                  <a:lnTo>
                    <a:pt x="841" y="0"/>
                  </a:lnTo>
                  <a:close/>
                  <a:moveTo>
                    <a:pt x="1417" y="3144"/>
                  </a:moveTo>
                  <a:lnTo>
                    <a:pt x="1538" y="3046"/>
                  </a:lnTo>
                  <a:lnTo>
                    <a:pt x="1600" y="2791"/>
                  </a:lnTo>
                  <a:lnTo>
                    <a:pt x="1655" y="2791"/>
                  </a:lnTo>
                  <a:lnTo>
                    <a:pt x="1585" y="3077"/>
                  </a:lnTo>
                  <a:lnTo>
                    <a:pt x="1413" y="3215"/>
                  </a:lnTo>
                  <a:lnTo>
                    <a:pt x="1343" y="4763"/>
                  </a:lnTo>
                  <a:lnTo>
                    <a:pt x="897" y="4763"/>
                  </a:lnTo>
                  <a:lnTo>
                    <a:pt x="897" y="2726"/>
                  </a:lnTo>
                  <a:lnTo>
                    <a:pt x="844" y="2726"/>
                  </a:lnTo>
                  <a:lnTo>
                    <a:pt x="844" y="4763"/>
                  </a:lnTo>
                  <a:lnTo>
                    <a:pt x="398" y="4763"/>
                  </a:lnTo>
                  <a:lnTo>
                    <a:pt x="326" y="3217"/>
                  </a:lnTo>
                  <a:lnTo>
                    <a:pt x="153" y="3077"/>
                  </a:lnTo>
                  <a:lnTo>
                    <a:pt x="82" y="2791"/>
                  </a:lnTo>
                  <a:lnTo>
                    <a:pt x="137" y="2791"/>
                  </a:lnTo>
                  <a:lnTo>
                    <a:pt x="199" y="3046"/>
                  </a:lnTo>
                  <a:lnTo>
                    <a:pt x="322" y="3147"/>
                  </a:lnTo>
                  <a:lnTo>
                    <a:pt x="304" y="2738"/>
                  </a:lnTo>
                  <a:lnTo>
                    <a:pt x="300" y="2738"/>
                  </a:lnTo>
                  <a:lnTo>
                    <a:pt x="0" y="2738"/>
                  </a:lnTo>
                  <a:lnTo>
                    <a:pt x="0" y="1086"/>
                  </a:lnTo>
                  <a:lnTo>
                    <a:pt x="1" y="1065"/>
                  </a:lnTo>
                  <a:lnTo>
                    <a:pt x="4" y="1045"/>
                  </a:lnTo>
                  <a:lnTo>
                    <a:pt x="9" y="1028"/>
                  </a:lnTo>
                  <a:lnTo>
                    <a:pt x="16" y="1012"/>
                  </a:lnTo>
                  <a:lnTo>
                    <a:pt x="25" y="997"/>
                  </a:lnTo>
                  <a:lnTo>
                    <a:pt x="35" y="983"/>
                  </a:lnTo>
                  <a:lnTo>
                    <a:pt x="46" y="971"/>
                  </a:lnTo>
                  <a:lnTo>
                    <a:pt x="60" y="959"/>
                  </a:lnTo>
                  <a:lnTo>
                    <a:pt x="74" y="948"/>
                  </a:lnTo>
                  <a:lnTo>
                    <a:pt x="89" y="939"/>
                  </a:lnTo>
                  <a:lnTo>
                    <a:pt x="106" y="929"/>
                  </a:lnTo>
                  <a:lnTo>
                    <a:pt x="123" y="920"/>
                  </a:lnTo>
                  <a:lnTo>
                    <a:pt x="162" y="904"/>
                  </a:lnTo>
                  <a:lnTo>
                    <a:pt x="202" y="890"/>
                  </a:lnTo>
                  <a:lnTo>
                    <a:pt x="606" y="742"/>
                  </a:lnTo>
                  <a:lnTo>
                    <a:pt x="738" y="1522"/>
                  </a:lnTo>
                  <a:lnTo>
                    <a:pt x="806" y="916"/>
                  </a:lnTo>
                  <a:lnTo>
                    <a:pt x="790" y="908"/>
                  </a:lnTo>
                  <a:lnTo>
                    <a:pt x="774" y="898"/>
                  </a:lnTo>
                  <a:lnTo>
                    <a:pt x="760" y="886"/>
                  </a:lnTo>
                  <a:lnTo>
                    <a:pt x="750" y="871"/>
                  </a:lnTo>
                  <a:lnTo>
                    <a:pt x="851" y="775"/>
                  </a:lnTo>
                  <a:lnTo>
                    <a:pt x="952" y="871"/>
                  </a:lnTo>
                  <a:lnTo>
                    <a:pt x="940" y="886"/>
                  </a:lnTo>
                  <a:lnTo>
                    <a:pt x="926" y="898"/>
                  </a:lnTo>
                  <a:lnTo>
                    <a:pt x="912" y="908"/>
                  </a:lnTo>
                  <a:lnTo>
                    <a:pt x="894" y="916"/>
                  </a:lnTo>
                  <a:lnTo>
                    <a:pt x="962" y="1522"/>
                  </a:lnTo>
                  <a:lnTo>
                    <a:pt x="1095" y="742"/>
                  </a:lnTo>
                  <a:lnTo>
                    <a:pt x="1500" y="890"/>
                  </a:lnTo>
                  <a:lnTo>
                    <a:pt x="1539" y="904"/>
                  </a:lnTo>
                  <a:lnTo>
                    <a:pt x="1577" y="920"/>
                  </a:lnTo>
                  <a:lnTo>
                    <a:pt x="1594" y="929"/>
                  </a:lnTo>
                  <a:lnTo>
                    <a:pt x="1611" y="939"/>
                  </a:lnTo>
                  <a:lnTo>
                    <a:pt x="1627" y="948"/>
                  </a:lnTo>
                  <a:lnTo>
                    <a:pt x="1642" y="959"/>
                  </a:lnTo>
                  <a:lnTo>
                    <a:pt x="1654" y="971"/>
                  </a:lnTo>
                  <a:lnTo>
                    <a:pt x="1665" y="983"/>
                  </a:lnTo>
                  <a:lnTo>
                    <a:pt x="1676" y="997"/>
                  </a:lnTo>
                  <a:lnTo>
                    <a:pt x="1684" y="1012"/>
                  </a:lnTo>
                  <a:lnTo>
                    <a:pt x="1691" y="1028"/>
                  </a:lnTo>
                  <a:lnTo>
                    <a:pt x="1696" y="1045"/>
                  </a:lnTo>
                  <a:lnTo>
                    <a:pt x="1699" y="1065"/>
                  </a:lnTo>
                  <a:lnTo>
                    <a:pt x="1700" y="1086"/>
                  </a:lnTo>
                  <a:lnTo>
                    <a:pt x="1700" y="2738"/>
                  </a:lnTo>
                  <a:lnTo>
                    <a:pt x="1436" y="2738"/>
                  </a:lnTo>
                  <a:lnTo>
                    <a:pt x="1417" y="3144"/>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000000"/>
                </a:solidFill>
              </a:endParaRPr>
            </a:p>
          </p:txBody>
        </p:sp>
        <p:sp>
          <p:nvSpPr>
            <p:cNvPr id="16" name="Freeform 15"/>
            <p:cNvSpPr>
              <a:spLocks noChangeAspect="1" noEditPoints="1"/>
            </p:cNvSpPr>
            <p:nvPr/>
          </p:nvSpPr>
          <p:spPr bwMode="gray">
            <a:xfrm>
              <a:off x="5922764" y="4932759"/>
              <a:ext cx="113415" cy="359148"/>
            </a:xfrm>
            <a:custGeom>
              <a:avLst/>
              <a:gdLst>
                <a:gd name="T0" fmla="*/ 2147483647 w 1510"/>
                <a:gd name="T1" fmla="*/ 2147483647 h 4763"/>
                <a:gd name="T2" fmla="*/ 2147483647 w 1510"/>
                <a:gd name="T3" fmla="*/ 2147483647 h 4763"/>
                <a:gd name="T4" fmla="*/ 2147483647 w 1510"/>
                <a:gd name="T5" fmla="*/ 2147483647 h 4763"/>
                <a:gd name="T6" fmla="*/ 2147483647 w 1510"/>
                <a:gd name="T7" fmla="*/ 2147483647 h 4763"/>
                <a:gd name="T8" fmla="*/ 2147483647 w 1510"/>
                <a:gd name="T9" fmla="*/ 2147483647 h 4763"/>
                <a:gd name="T10" fmla="*/ 2147483647 w 1510"/>
                <a:gd name="T11" fmla="*/ 2147483647 h 4763"/>
                <a:gd name="T12" fmla="*/ 2147483647 w 1510"/>
                <a:gd name="T13" fmla="*/ 2147483647 h 4763"/>
                <a:gd name="T14" fmla="*/ 2147483647 w 1510"/>
                <a:gd name="T15" fmla="*/ 2147483647 h 4763"/>
                <a:gd name="T16" fmla="*/ 2147483647 w 1510"/>
                <a:gd name="T17" fmla="*/ 2147483647 h 4763"/>
                <a:gd name="T18" fmla="*/ 2147483647 w 1510"/>
                <a:gd name="T19" fmla="*/ 2147483647 h 4763"/>
                <a:gd name="T20" fmla="*/ 2147483647 w 1510"/>
                <a:gd name="T21" fmla="*/ 2147483647 h 4763"/>
                <a:gd name="T22" fmla="*/ 2147483647 w 1510"/>
                <a:gd name="T23" fmla="*/ 2147483647 h 4763"/>
                <a:gd name="T24" fmla="*/ 2147483647 w 1510"/>
                <a:gd name="T25" fmla="*/ 2147483647 h 4763"/>
                <a:gd name="T26" fmla="*/ 2147483647 w 1510"/>
                <a:gd name="T27" fmla="*/ 2147483647 h 4763"/>
                <a:gd name="T28" fmla="*/ 2147483647 w 1510"/>
                <a:gd name="T29" fmla="*/ 2147483647 h 4763"/>
                <a:gd name="T30" fmla="*/ 2147483647 w 1510"/>
                <a:gd name="T31" fmla="*/ 2147483647 h 4763"/>
                <a:gd name="T32" fmla="*/ 2147483647 w 1510"/>
                <a:gd name="T33" fmla="*/ 2147483647 h 4763"/>
                <a:gd name="T34" fmla="*/ 2147483647 w 1510"/>
                <a:gd name="T35" fmla="*/ 2147483647 h 4763"/>
                <a:gd name="T36" fmla="*/ 2147483647 w 1510"/>
                <a:gd name="T37" fmla="*/ 2147483647 h 4763"/>
                <a:gd name="T38" fmla="*/ 2147483647 w 1510"/>
                <a:gd name="T39" fmla="*/ 2147483647 h 4763"/>
                <a:gd name="T40" fmla="*/ 2147483647 w 1510"/>
                <a:gd name="T41" fmla="*/ 2147483647 h 4763"/>
                <a:gd name="T42" fmla="*/ 2147483647 w 1510"/>
                <a:gd name="T43" fmla="*/ 2147483647 h 4763"/>
                <a:gd name="T44" fmla="*/ 2147483647 w 1510"/>
                <a:gd name="T45" fmla="*/ 2147483647 h 4763"/>
                <a:gd name="T46" fmla="*/ 2147483647 w 1510"/>
                <a:gd name="T47" fmla="*/ 2147483647 h 4763"/>
                <a:gd name="T48" fmla="*/ 2147483647 w 1510"/>
                <a:gd name="T49" fmla="*/ 2147483647 h 4763"/>
                <a:gd name="T50" fmla="*/ 2147483647 w 1510"/>
                <a:gd name="T51" fmla="*/ 2147483647 h 4763"/>
                <a:gd name="T52" fmla="*/ 2147483647 w 1510"/>
                <a:gd name="T53" fmla="*/ 2147483647 h 4763"/>
                <a:gd name="T54" fmla="*/ 2147483647 w 1510"/>
                <a:gd name="T55" fmla="*/ 2147483647 h 4763"/>
                <a:gd name="T56" fmla="*/ 2147483647 w 1510"/>
                <a:gd name="T57" fmla="*/ 2147483647 h 4763"/>
                <a:gd name="T58" fmla="*/ 2147483647 w 1510"/>
                <a:gd name="T59" fmla="*/ 2147483647 h 4763"/>
                <a:gd name="T60" fmla="*/ 2147483647 w 1510"/>
                <a:gd name="T61" fmla="*/ 2147483647 h 4763"/>
                <a:gd name="T62" fmla="*/ 2147483647 w 1510"/>
                <a:gd name="T63" fmla="*/ 2147483647 h 4763"/>
                <a:gd name="T64" fmla="*/ 2147483647 w 1510"/>
                <a:gd name="T65" fmla="*/ 2147483647 h 4763"/>
                <a:gd name="T66" fmla="*/ 2147483647 w 1510"/>
                <a:gd name="T67" fmla="*/ 2147483647 h 4763"/>
                <a:gd name="T68" fmla="*/ 2147483647 w 1510"/>
                <a:gd name="T69" fmla="*/ 2147483647 h 4763"/>
                <a:gd name="T70" fmla="*/ 2147483647 w 1510"/>
                <a:gd name="T71" fmla="*/ 2147483647 h 4763"/>
                <a:gd name="T72" fmla="*/ 2147483647 w 1510"/>
                <a:gd name="T73" fmla="*/ 2147483647 h 4763"/>
                <a:gd name="T74" fmla="*/ 2147483647 w 1510"/>
                <a:gd name="T75" fmla="*/ 2147483647 h 4763"/>
                <a:gd name="T76" fmla="*/ 2147483647 w 1510"/>
                <a:gd name="T77" fmla="*/ 2147483647 h 4763"/>
                <a:gd name="T78" fmla="*/ 2147483647 w 1510"/>
                <a:gd name="T79" fmla="*/ 2147483647 h 4763"/>
                <a:gd name="T80" fmla="*/ 2147483647 w 1510"/>
                <a:gd name="T81" fmla="*/ 2147483647 h 4763"/>
                <a:gd name="T82" fmla="*/ 2147483647 w 1510"/>
                <a:gd name="T83" fmla="*/ 2147483647 h 4763"/>
                <a:gd name="T84" fmla="*/ 2147483647 w 1510"/>
                <a:gd name="T85" fmla="*/ 2147483647 h 4763"/>
                <a:gd name="T86" fmla="*/ 2147483647 w 1510"/>
                <a:gd name="T87" fmla="*/ 2147483647 h 4763"/>
                <a:gd name="T88" fmla="*/ 2147483647 w 1510"/>
                <a:gd name="T89" fmla="*/ 2147483647 h 4763"/>
                <a:gd name="T90" fmla="*/ 2147483647 w 1510"/>
                <a:gd name="T91" fmla="*/ 2147483647 h 4763"/>
                <a:gd name="T92" fmla="*/ 2147483647 w 1510"/>
                <a:gd name="T93" fmla="*/ 2147483647 h 4763"/>
                <a:gd name="T94" fmla="*/ 2147483647 w 1510"/>
                <a:gd name="T95" fmla="*/ 2147483647 h 4763"/>
                <a:gd name="T96" fmla="*/ 2147483647 w 1510"/>
                <a:gd name="T97" fmla="*/ 2147483647 h 4763"/>
                <a:gd name="T98" fmla="*/ 2147483647 w 1510"/>
                <a:gd name="T99" fmla="*/ 2147483647 h 4763"/>
                <a:gd name="T100" fmla="*/ 2147483647 w 1510"/>
                <a:gd name="T101" fmla="*/ 2147483647 h 4763"/>
                <a:gd name="T102" fmla="*/ 2147483647 w 1510"/>
                <a:gd name="T103" fmla="*/ 2147483647 h 4763"/>
                <a:gd name="T104" fmla="*/ 2147483647 w 1510"/>
                <a:gd name="T105" fmla="*/ 2147483647 h 4763"/>
                <a:gd name="T106" fmla="*/ 2147483647 w 1510"/>
                <a:gd name="T107" fmla="*/ 2147483647 h 4763"/>
                <a:gd name="T108" fmla="*/ 2147483647 w 1510"/>
                <a:gd name="T109" fmla="*/ 2147483647 h 4763"/>
                <a:gd name="T110" fmla="*/ 2147483647 w 1510"/>
                <a:gd name="T111" fmla="*/ 2147483647 h 4763"/>
                <a:gd name="T112" fmla="*/ 2147483647 w 1510"/>
                <a:gd name="T113" fmla="*/ 2147483647 h 4763"/>
                <a:gd name="T114" fmla="*/ 2147483647 w 1510"/>
                <a:gd name="T115" fmla="*/ 2147483647 h 4763"/>
                <a:gd name="T116" fmla="*/ 2147483647 w 1510"/>
                <a:gd name="T117" fmla="*/ 2147483647 h 4763"/>
                <a:gd name="T118" fmla="*/ 2147483647 w 1510"/>
                <a:gd name="T119" fmla="*/ 2147483647 h 4763"/>
                <a:gd name="T120" fmla="*/ 2147483647 w 1510"/>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10"/>
                <a:gd name="T184" fmla="*/ 0 h 4763"/>
                <a:gd name="T185" fmla="*/ 1510 w 1510"/>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10" h="4763">
                  <a:moveTo>
                    <a:pt x="544" y="802"/>
                  </a:moveTo>
                  <a:lnTo>
                    <a:pt x="749" y="1234"/>
                  </a:lnTo>
                  <a:lnTo>
                    <a:pt x="951" y="806"/>
                  </a:lnTo>
                  <a:lnTo>
                    <a:pt x="1157" y="841"/>
                  </a:lnTo>
                  <a:lnTo>
                    <a:pt x="1184" y="846"/>
                  </a:lnTo>
                  <a:lnTo>
                    <a:pt x="1212" y="852"/>
                  </a:lnTo>
                  <a:lnTo>
                    <a:pt x="1238" y="860"/>
                  </a:lnTo>
                  <a:lnTo>
                    <a:pt x="1264" y="870"/>
                  </a:lnTo>
                  <a:lnTo>
                    <a:pt x="1287" y="879"/>
                  </a:lnTo>
                  <a:lnTo>
                    <a:pt x="1311" y="892"/>
                  </a:lnTo>
                  <a:lnTo>
                    <a:pt x="1333" y="907"/>
                  </a:lnTo>
                  <a:lnTo>
                    <a:pt x="1353" y="922"/>
                  </a:lnTo>
                  <a:lnTo>
                    <a:pt x="1371" y="941"/>
                  </a:lnTo>
                  <a:lnTo>
                    <a:pt x="1388" y="960"/>
                  </a:lnTo>
                  <a:lnTo>
                    <a:pt x="1403" y="984"/>
                  </a:lnTo>
                  <a:lnTo>
                    <a:pt x="1414" y="1007"/>
                  </a:lnTo>
                  <a:lnTo>
                    <a:pt x="1423" y="1034"/>
                  </a:lnTo>
                  <a:lnTo>
                    <a:pt x="1432" y="1065"/>
                  </a:lnTo>
                  <a:lnTo>
                    <a:pt x="1436" y="1096"/>
                  </a:lnTo>
                  <a:lnTo>
                    <a:pt x="1437" y="1131"/>
                  </a:lnTo>
                  <a:lnTo>
                    <a:pt x="1437" y="2330"/>
                  </a:lnTo>
                  <a:lnTo>
                    <a:pt x="1301" y="2735"/>
                  </a:lnTo>
                  <a:lnTo>
                    <a:pt x="1510" y="3779"/>
                  </a:lnTo>
                  <a:lnTo>
                    <a:pt x="1157" y="3779"/>
                  </a:lnTo>
                  <a:lnTo>
                    <a:pt x="1021" y="4763"/>
                  </a:lnTo>
                  <a:lnTo>
                    <a:pt x="910" y="4763"/>
                  </a:lnTo>
                  <a:lnTo>
                    <a:pt x="1046" y="3779"/>
                  </a:lnTo>
                  <a:lnTo>
                    <a:pt x="787" y="3779"/>
                  </a:lnTo>
                  <a:lnTo>
                    <a:pt x="782" y="4763"/>
                  </a:lnTo>
                  <a:lnTo>
                    <a:pt x="727" y="4763"/>
                  </a:lnTo>
                  <a:lnTo>
                    <a:pt x="732" y="3779"/>
                  </a:lnTo>
                  <a:lnTo>
                    <a:pt x="464" y="3779"/>
                  </a:lnTo>
                  <a:lnTo>
                    <a:pt x="599" y="4763"/>
                  </a:lnTo>
                  <a:lnTo>
                    <a:pt x="488" y="4763"/>
                  </a:lnTo>
                  <a:lnTo>
                    <a:pt x="353" y="3779"/>
                  </a:lnTo>
                  <a:lnTo>
                    <a:pt x="0" y="3779"/>
                  </a:lnTo>
                  <a:lnTo>
                    <a:pt x="213" y="2737"/>
                  </a:lnTo>
                  <a:lnTo>
                    <a:pt x="73" y="2331"/>
                  </a:lnTo>
                  <a:lnTo>
                    <a:pt x="73" y="1131"/>
                  </a:lnTo>
                  <a:lnTo>
                    <a:pt x="74" y="1098"/>
                  </a:lnTo>
                  <a:lnTo>
                    <a:pt x="78" y="1066"/>
                  </a:lnTo>
                  <a:lnTo>
                    <a:pt x="84" y="1037"/>
                  </a:lnTo>
                  <a:lnTo>
                    <a:pt x="93" y="1011"/>
                  </a:lnTo>
                  <a:lnTo>
                    <a:pt x="104" y="988"/>
                  </a:lnTo>
                  <a:lnTo>
                    <a:pt x="118" y="966"/>
                  </a:lnTo>
                  <a:lnTo>
                    <a:pt x="133" y="947"/>
                  </a:lnTo>
                  <a:lnTo>
                    <a:pt x="151" y="929"/>
                  </a:lnTo>
                  <a:lnTo>
                    <a:pt x="170" y="912"/>
                  </a:lnTo>
                  <a:lnTo>
                    <a:pt x="191" y="898"/>
                  </a:lnTo>
                  <a:lnTo>
                    <a:pt x="213" y="886"/>
                  </a:lnTo>
                  <a:lnTo>
                    <a:pt x="236" y="875"/>
                  </a:lnTo>
                  <a:lnTo>
                    <a:pt x="260" y="866"/>
                  </a:lnTo>
                  <a:lnTo>
                    <a:pt x="284" y="857"/>
                  </a:lnTo>
                  <a:lnTo>
                    <a:pt x="311" y="850"/>
                  </a:lnTo>
                  <a:lnTo>
                    <a:pt x="337" y="845"/>
                  </a:lnTo>
                  <a:lnTo>
                    <a:pt x="544" y="802"/>
                  </a:lnTo>
                  <a:close/>
                  <a:moveTo>
                    <a:pt x="956" y="919"/>
                  </a:moveTo>
                  <a:lnTo>
                    <a:pt x="747" y="1360"/>
                  </a:lnTo>
                  <a:lnTo>
                    <a:pt x="536" y="915"/>
                  </a:lnTo>
                  <a:lnTo>
                    <a:pt x="365" y="945"/>
                  </a:lnTo>
                  <a:lnTo>
                    <a:pt x="348" y="949"/>
                  </a:lnTo>
                  <a:lnTo>
                    <a:pt x="330" y="953"/>
                  </a:lnTo>
                  <a:lnTo>
                    <a:pt x="312" y="959"/>
                  </a:lnTo>
                  <a:lnTo>
                    <a:pt x="295" y="966"/>
                  </a:lnTo>
                  <a:lnTo>
                    <a:pt x="279" y="973"/>
                  </a:lnTo>
                  <a:lnTo>
                    <a:pt x="264" y="981"/>
                  </a:lnTo>
                  <a:lnTo>
                    <a:pt x="250" y="991"/>
                  </a:lnTo>
                  <a:lnTo>
                    <a:pt x="236" y="1002"/>
                  </a:lnTo>
                  <a:lnTo>
                    <a:pt x="225" y="1012"/>
                  </a:lnTo>
                  <a:lnTo>
                    <a:pt x="214" y="1026"/>
                  </a:lnTo>
                  <a:lnTo>
                    <a:pt x="205" y="1040"/>
                  </a:lnTo>
                  <a:lnTo>
                    <a:pt x="196" y="1056"/>
                  </a:lnTo>
                  <a:lnTo>
                    <a:pt x="191" y="1073"/>
                  </a:lnTo>
                  <a:lnTo>
                    <a:pt x="185" y="1091"/>
                  </a:lnTo>
                  <a:lnTo>
                    <a:pt x="183" y="1110"/>
                  </a:lnTo>
                  <a:lnTo>
                    <a:pt x="183" y="1131"/>
                  </a:lnTo>
                  <a:lnTo>
                    <a:pt x="183" y="2253"/>
                  </a:lnTo>
                  <a:lnTo>
                    <a:pt x="361" y="2253"/>
                  </a:lnTo>
                  <a:lnTo>
                    <a:pt x="404" y="2069"/>
                  </a:lnTo>
                  <a:lnTo>
                    <a:pt x="404" y="1504"/>
                  </a:lnTo>
                  <a:lnTo>
                    <a:pt x="334" y="1184"/>
                  </a:lnTo>
                  <a:lnTo>
                    <a:pt x="387" y="1172"/>
                  </a:lnTo>
                  <a:lnTo>
                    <a:pt x="459" y="1499"/>
                  </a:lnTo>
                  <a:lnTo>
                    <a:pt x="459" y="2072"/>
                  </a:lnTo>
                  <a:lnTo>
                    <a:pt x="1050" y="2072"/>
                  </a:lnTo>
                  <a:lnTo>
                    <a:pt x="1050" y="1499"/>
                  </a:lnTo>
                  <a:lnTo>
                    <a:pt x="1123" y="1172"/>
                  </a:lnTo>
                  <a:lnTo>
                    <a:pt x="1176" y="1184"/>
                  </a:lnTo>
                  <a:lnTo>
                    <a:pt x="1105" y="1504"/>
                  </a:lnTo>
                  <a:lnTo>
                    <a:pt x="1105" y="2069"/>
                  </a:lnTo>
                  <a:lnTo>
                    <a:pt x="1147" y="2253"/>
                  </a:lnTo>
                  <a:lnTo>
                    <a:pt x="1327" y="2253"/>
                  </a:lnTo>
                  <a:lnTo>
                    <a:pt x="1327" y="1131"/>
                  </a:lnTo>
                  <a:lnTo>
                    <a:pt x="1326" y="1110"/>
                  </a:lnTo>
                  <a:lnTo>
                    <a:pt x="1323" y="1092"/>
                  </a:lnTo>
                  <a:lnTo>
                    <a:pt x="1319" y="1073"/>
                  </a:lnTo>
                  <a:lnTo>
                    <a:pt x="1314" y="1056"/>
                  </a:lnTo>
                  <a:lnTo>
                    <a:pt x="1305" y="1041"/>
                  </a:lnTo>
                  <a:lnTo>
                    <a:pt x="1297" y="1028"/>
                  </a:lnTo>
                  <a:lnTo>
                    <a:pt x="1286" y="1014"/>
                  </a:lnTo>
                  <a:lnTo>
                    <a:pt x="1275" y="1002"/>
                  </a:lnTo>
                  <a:lnTo>
                    <a:pt x="1263" y="992"/>
                  </a:lnTo>
                  <a:lnTo>
                    <a:pt x="1249" y="982"/>
                  </a:lnTo>
                  <a:lnTo>
                    <a:pt x="1234" y="973"/>
                  </a:lnTo>
                  <a:lnTo>
                    <a:pt x="1219" y="966"/>
                  </a:lnTo>
                  <a:lnTo>
                    <a:pt x="1202" y="959"/>
                  </a:lnTo>
                  <a:lnTo>
                    <a:pt x="1186" y="955"/>
                  </a:lnTo>
                  <a:lnTo>
                    <a:pt x="1169" y="951"/>
                  </a:lnTo>
                  <a:lnTo>
                    <a:pt x="1151" y="947"/>
                  </a:lnTo>
                  <a:lnTo>
                    <a:pt x="956" y="919"/>
                  </a:lnTo>
                  <a:close/>
                  <a:moveTo>
                    <a:pt x="349" y="2308"/>
                  </a:moveTo>
                  <a:lnTo>
                    <a:pt x="183" y="2308"/>
                  </a:lnTo>
                  <a:lnTo>
                    <a:pt x="183" y="2311"/>
                  </a:lnTo>
                  <a:lnTo>
                    <a:pt x="282" y="2595"/>
                  </a:lnTo>
                  <a:lnTo>
                    <a:pt x="349" y="2308"/>
                  </a:lnTo>
                  <a:close/>
                  <a:moveTo>
                    <a:pt x="1327" y="2308"/>
                  </a:moveTo>
                  <a:lnTo>
                    <a:pt x="1160" y="2308"/>
                  </a:lnTo>
                  <a:lnTo>
                    <a:pt x="1227" y="2607"/>
                  </a:lnTo>
                  <a:lnTo>
                    <a:pt x="1327" y="2311"/>
                  </a:lnTo>
                  <a:lnTo>
                    <a:pt x="1327" y="2308"/>
                  </a:lnTo>
                  <a:close/>
                  <a:moveTo>
                    <a:pt x="1085" y="372"/>
                  </a:moveTo>
                  <a:lnTo>
                    <a:pt x="1085" y="445"/>
                  </a:lnTo>
                  <a:lnTo>
                    <a:pt x="1084" y="473"/>
                  </a:lnTo>
                  <a:lnTo>
                    <a:pt x="1081" y="496"/>
                  </a:lnTo>
                  <a:lnTo>
                    <a:pt x="1079" y="506"/>
                  </a:lnTo>
                  <a:lnTo>
                    <a:pt x="1076" y="515"/>
                  </a:lnTo>
                  <a:lnTo>
                    <a:pt x="1072" y="522"/>
                  </a:lnTo>
                  <a:lnTo>
                    <a:pt x="1068" y="529"/>
                  </a:lnTo>
                  <a:lnTo>
                    <a:pt x="1063" y="534"/>
                  </a:lnTo>
                  <a:lnTo>
                    <a:pt x="1058" y="540"/>
                  </a:lnTo>
                  <a:lnTo>
                    <a:pt x="1052" y="544"/>
                  </a:lnTo>
                  <a:lnTo>
                    <a:pt x="1047" y="547"/>
                  </a:lnTo>
                  <a:lnTo>
                    <a:pt x="1033" y="551"/>
                  </a:lnTo>
                  <a:lnTo>
                    <a:pt x="1018" y="552"/>
                  </a:lnTo>
                  <a:lnTo>
                    <a:pt x="1010" y="577"/>
                  </a:lnTo>
                  <a:lnTo>
                    <a:pt x="1025" y="587"/>
                  </a:lnTo>
                  <a:lnTo>
                    <a:pt x="1041" y="596"/>
                  </a:lnTo>
                  <a:lnTo>
                    <a:pt x="1058" y="603"/>
                  </a:lnTo>
                  <a:lnTo>
                    <a:pt x="1074" y="609"/>
                  </a:lnTo>
                  <a:lnTo>
                    <a:pt x="1092" y="614"/>
                  </a:lnTo>
                  <a:lnTo>
                    <a:pt x="1112" y="617"/>
                  </a:lnTo>
                  <a:lnTo>
                    <a:pt x="1129" y="618"/>
                  </a:lnTo>
                  <a:lnTo>
                    <a:pt x="1149" y="617"/>
                  </a:lnTo>
                  <a:lnTo>
                    <a:pt x="1151" y="617"/>
                  </a:lnTo>
                  <a:lnTo>
                    <a:pt x="1149" y="631"/>
                  </a:lnTo>
                  <a:lnTo>
                    <a:pt x="1146" y="643"/>
                  </a:lnTo>
                  <a:lnTo>
                    <a:pt x="1140" y="654"/>
                  </a:lnTo>
                  <a:lnTo>
                    <a:pt x="1135" y="666"/>
                  </a:lnTo>
                  <a:lnTo>
                    <a:pt x="1128" y="677"/>
                  </a:lnTo>
                  <a:lnTo>
                    <a:pt x="1120" y="687"/>
                  </a:lnTo>
                  <a:lnTo>
                    <a:pt x="1112" y="697"/>
                  </a:lnTo>
                  <a:lnTo>
                    <a:pt x="1102" y="706"/>
                  </a:lnTo>
                  <a:lnTo>
                    <a:pt x="1091" y="714"/>
                  </a:lnTo>
                  <a:lnTo>
                    <a:pt x="1080" y="721"/>
                  </a:lnTo>
                  <a:lnTo>
                    <a:pt x="1068" y="728"/>
                  </a:lnTo>
                  <a:lnTo>
                    <a:pt x="1055" y="734"/>
                  </a:lnTo>
                  <a:lnTo>
                    <a:pt x="1041" y="739"/>
                  </a:lnTo>
                  <a:lnTo>
                    <a:pt x="1028" y="743"/>
                  </a:lnTo>
                  <a:lnTo>
                    <a:pt x="1014" y="746"/>
                  </a:lnTo>
                  <a:lnTo>
                    <a:pt x="999" y="747"/>
                  </a:lnTo>
                  <a:lnTo>
                    <a:pt x="984" y="747"/>
                  </a:lnTo>
                  <a:lnTo>
                    <a:pt x="970" y="747"/>
                  </a:lnTo>
                  <a:lnTo>
                    <a:pt x="958" y="746"/>
                  </a:lnTo>
                  <a:lnTo>
                    <a:pt x="944" y="743"/>
                  </a:lnTo>
                  <a:lnTo>
                    <a:pt x="930" y="740"/>
                  </a:lnTo>
                  <a:lnTo>
                    <a:pt x="918" y="736"/>
                  </a:lnTo>
                  <a:lnTo>
                    <a:pt x="905" y="732"/>
                  </a:lnTo>
                  <a:lnTo>
                    <a:pt x="893" y="727"/>
                  </a:lnTo>
                  <a:lnTo>
                    <a:pt x="878" y="736"/>
                  </a:lnTo>
                  <a:lnTo>
                    <a:pt x="861" y="743"/>
                  </a:lnTo>
                  <a:lnTo>
                    <a:pt x="846" y="750"/>
                  </a:lnTo>
                  <a:lnTo>
                    <a:pt x="829" y="757"/>
                  </a:lnTo>
                  <a:lnTo>
                    <a:pt x="812" y="761"/>
                  </a:lnTo>
                  <a:lnTo>
                    <a:pt x="794" y="764"/>
                  </a:lnTo>
                  <a:lnTo>
                    <a:pt x="776" y="767"/>
                  </a:lnTo>
                  <a:lnTo>
                    <a:pt x="757" y="767"/>
                  </a:lnTo>
                  <a:lnTo>
                    <a:pt x="738" y="767"/>
                  </a:lnTo>
                  <a:lnTo>
                    <a:pt x="719" y="764"/>
                  </a:lnTo>
                  <a:lnTo>
                    <a:pt x="699" y="760"/>
                  </a:lnTo>
                  <a:lnTo>
                    <a:pt x="681" y="756"/>
                  </a:lnTo>
                  <a:lnTo>
                    <a:pt x="664" y="749"/>
                  </a:lnTo>
                  <a:lnTo>
                    <a:pt x="646" y="740"/>
                  </a:lnTo>
                  <a:lnTo>
                    <a:pt x="629" y="732"/>
                  </a:lnTo>
                  <a:lnTo>
                    <a:pt x="614" y="721"/>
                  </a:lnTo>
                  <a:lnTo>
                    <a:pt x="600" y="728"/>
                  </a:lnTo>
                  <a:lnTo>
                    <a:pt x="587" y="734"/>
                  </a:lnTo>
                  <a:lnTo>
                    <a:pt x="573" y="739"/>
                  </a:lnTo>
                  <a:lnTo>
                    <a:pt x="559" y="742"/>
                  </a:lnTo>
                  <a:lnTo>
                    <a:pt x="544" y="745"/>
                  </a:lnTo>
                  <a:lnTo>
                    <a:pt x="529" y="747"/>
                  </a:lnTo>
                  <a:lnTo>
                    <a:pt x="514" y="747"/>
                  </a:lnTo>
                  <a:lnTo>
                    <a:pt x="499" y="747"/>
                  </a:lnTo>
                  <a:lnTo>
                    <a:pt x="484" y="746"/>
                  </a:lnTo>
                  <a:lnTo>
                    <a:pt x="469" y="743"/>
                  </a:lnTo>
                  <a:lnTo>
                    <a:pt x="455" y="739"/>
                  </a:lnTo>
                  <a:lnTo>
                    <a:pt x="441" y="734"/>
                  </a:lnTo>
                  <a:lnTo>
                    <a:pt x="429" y="728"/>
                  </a:lnTo>
                  <a:lnTo>
                    <a:pt x="416" y="721"/>
                  </a:lnTo>
                  <a:lnTo>
                    <a:pt x="405" y="714"/>
                  </a:lnTo>
                  <a:lnTo>
                    <a:pt x="394" y="706"/>
                  </a:lnTo>
                  <a:lnTo>
                    <a:pt x="385" y="697"/>
                  </a:lnTo>
                  <a:lnTo>
                    <a:pt x="376" y="687"/>
                  </a:lnTo>
                  <a:lnTo>
                    <a:pt x="368" y="677"/>
                  </a:lnTo>
                  <a:lnTo>
                    <a:pt x="361" y="666"/>
                  </a:lnTo>
                  <a:lnTo>
                    <a:pt x="356" y="654"/>
                  </a:lnTo>
                  <a:lnTo>
                    <a:pt x="352" y="643"/>
                  </a:lnTo>
                  <a:lnTo>
                    <a:pt x="348" y="631"/>
                  </a:lnTo>
                  <a:lnTo>
                    <a:pt x="345" y="617"/>
                  </a:lnTo>
                  <a:lnTo>
                    <a:pt x="348" y="617"/>
                  </a:lnTo>
                  <a:lnTo>
                    <a:pt x="370" y="618"/>
                  </a:lnTo>
                  <a:lnTo>
                    <a:pt x="390" y="615"/>
                  </a:lnTo>
                  <a:lnTo>
                    <a:pt x="411" y="613"/>
                  </a:lnTo>
                  <a:lnTo>
                    <a:pt x="430" y="606"/>
                  </a:lnTo>
                  <a:lnTo>
                    <a:pt x="449" y="599"/>
                  </a:lnTo>
                  <a:lnTo>
                    <a:pt x="469" y="589"/>
                  </a:lnTo>
                  <a:lnTo>
                    <a:pt x="485" y="578"/>
                  </a:lnTo>
                  <a:lnTo>
                    <a:pt x="500" y="566"/>
                  </a:lnTo>
                  <a:lnTo>
                    <a:pt x="496" y="552"/>
                  </a:lnTo>
                  <a:lnTo>
                    <a:pt x="478" y="552"/>
                  </a:lnTo>
                  <a:lnTo>
                    <a:pt x="469" y="552"/>
                  </a:lnTo>
                  <a:lnTo>
                    <a:pt x="462" y="551"/>
                  </a:lnTo>
                  <a:lnTo>
                    <a:pt x="453" y="548"/>
                  </a:lnTo>
                  <a:lnTo>
                    <a:pt x="447" y="544"/>
                  </a:lnTo>
                  <a:lnTo>
                    <a:pt x="440" y="540"/>
                  </a:lnTo>
                  <a:lnTo>
                    <a:pt x="434" y="534"/>
                  </a:lnTo>
                  <a:lnTo>
                    <a:pt x="430" y="529"/>
                  </a:lnTo>
                  <a:lnTo>
                    <a:pt x="425" y="521"/>
                  </a:lnTo>
                  <a:lnTo>
                    <a:pt x="422" y="511"/>
                  </a:lnTo>
                  <a:lnTo>
                    <a:pt x="418" y="501"/>
                  </a:lnTo>
                  <a:lnTo>
                    <a:pt x="416" y="489"/>
                  </a:lnTo>
                  <a:lnTo>
                    <a:pt x="414" y="477"/>
                  </a:lnTo>
                  <a:lnTo>
                    <a:pt x="412" y="445"/>
                  </a:lnTo>
                  <a:lnTo>
                    <a:pt x="412" y="372"/>
                  </a:lnTo>
                  <a:lnTo>
                    <a:pt x="412" y="353"/>
                  </a:lnTo>
                  <a:lnTo>
                    <a:pt x="414" y="335"/>
                  </a:lnTo>
                  <a:lnTo>
                    <a:pt x="419" y="299"/>
                  </a:lnTo>
                  <a:lnTo>
                    <a:pt x="427" y="264"/>
                  </a:lnTo>
                  <a:lnTo>
                    <a:pt x="438" y="231"/>
                  </a:lnTo>
                  <a:lnTo>
                    <a:pt x="452" y="198"/>
                  </a:lnTo>
                  <a:lnTo>
                    <a:pt x="469" y="168"/>
                  </a:lnTo>
                  <a:lnTo>
                    <a:pt x="486" y="139"/>
                  </a:lnTo>
                  <a:lnTo>
                    <a:pt x="508" y="113"/>
                  </a:lnTo>
                  <a:lnTo>
                    <a:pt x="532" y="88"/>
                  </a:lnTo>
                  <a:lnTo>
                    <a:pt x="544" y="77"/>
                  </a:lnTo>
                  <a:lnTo>
                    <a:pt x="558" y="66"/>
                  </a:lnTo>
                  <a:lnTo>
                    <a:pt x="572" y="56"/>
                  </a:lnTo>
                  <a:lnTo>
                    <a:pt x="585" y="47"/>
                  </a:lnTo>
                  <a:lnTo>
                    <a:pt x="600" y="38"/>
                  </a:lnTo>
                  <a:lnTo>
                    <a:pt x="616" y="30"/>
                  </a:lnTo>
                  <a:lnTo>
                    <a:pt x="631" y="23"/>
                  </a:lnTo>
                  <a:lnTo>
                    <a:pt x="646" y="18"/>
                  </a:lnTo>
                  <a:lnTo>
                    <a:pt x="662" y="12"/>
                  </a:lnTo>
                  <a:lnTo>
                    <a:pt x="679" y="8"/>
                  </a:lnTo>
                  <a:lnTo>
                    <a:pt x="697" y="5"/>
                  </a:lnTo>
                  <a:lnTo>
                    <a:pt x="713" y="3"/>
                  </a:lnTo>
                  <a:lnTo>
                    <a:pt x="731" y="1"/>
                  </a:lnTo>
                  <a:lnTo>
                    <a:pt x="749" y="0"/>
                  </a:lnTo>
                  <a:lnTo>
                    <a:pt x="767" y="1"/>
                  </a:lnTo>
                  <a:lnTo>
                    <a:pt x="785" y="3"/>
                  </a:lnTo>
                  <a:lnTo>
                    <a:pt x="801" y="5"/>
                  </a:lnTo>
                  <a:lnTo>
                    <a:pt x="819" y="8"/>
                  </a:lnTo>
                  <a:lnTo>
                    <a:pt x="835" y="12"/>
                  </a:lnTo>
                  <a:lnTo>
                    <a:pt x="852" y="18"/>
                  </a:lnTo>
                  <a:lnTo>
                    <a:pt x="867" y="23"/>
                  </a:lnTo>
                  <a:lnTo>
                    <a:pt x="882" y="30"/>
                  </a:lnTo>
                  <a:lnTo>
                    <a:pt x="897" y="38"/>
                  </a:lnTo>
                  <a:lnTo>
                    <a:pt x="912" y="47"/>
                  </a:lnTo>
                  <a:lnTo>
                    <a:pt x="926" y="56"/>
                  </a:lnTo>
                  <a:lnTo>
                    <a:pt x="940" y="66"/>
                  </a:lnTo>
                  <a:lnTo>
                    <a:pt x="954" y="77"/>
                  </a:lnTo>
                  <a:lnTo>
                    <a:pt x="966" y="88"/>
                  </a:lnTo>
                  <a:lnTo>
                    <a:pt x="989" y="113"/>
                  </a:lnTo>
                  <a:lnTo>
                    <a:pt x="1011" y="139"/>
                  </a:lnTo>
                  <a:lnTo>
                    <a:pt x="1029" y="168"/>
                  </a:lnTo>
                  <a:lnTo>
                    <a:pt x="1046" y="198"/>
                  </a:lnTo>
                  <a:lnTo>
                    <a:pt x="1059" y="231"/>
                  </a:lnTo>
                  <a:lnTo>
                    <a:pt x="1070" y="264"/>
                  </a:lnTo>
                  <a:lnTo>
                    <a:pt x="1079" y="299"/>
                  </a:lnTo>
                  <a:lnTo>
                    <a:pt x="1084" y="335"/>
                  </a:lnTo>
                  <a:lnTo>
                    <a:pt x="1085" y="353"/>
                  </a:lnTo>
                  <a:lnTo>
                    <a:pt x="1085" y="372"/>
                  </a:lnTo>
                  <a:close/>
                  <a:moveTo>
                    <a:pt x="911" y="199"/>
                  </a:moveTo>
                  <a:lnTo>
                    <a:pt x="911" y="199"/>
                  </a:lnTo>
                  <a:lnTo>
                    <a:pt x="925" y="217"/>
                  </a:lnTo>
                  <a:lnTo>
                    <a:pt x="938" y="236"/>
                  </a:lnTo>
                  <a:lnTo>
                    <a:pt x="948" y="257"/>
                  </a:lnTo>
                  <a:lnTo>
                    <a:pt x="958" y="278"/>
                  </a:lnTo>
                  <a:lnTo>
                    <a:pt x="966" y="301"/>
                  </a:lnTo>
                  <a:lnTo>
                    <a:pt x="971" y="326"/>
                  </a:lnTo>
                  <a:lnTo>
                    <a:pt x="974" y="350"/>
                  </a:lnTo>
                  <a:lnTo>
                    <a:pt x="976" y="376"/>
                  </a:lnTo>
                  <a:lnTo>
                    <a:pt x="976" y="463"/>
                  </a:lnTo>
                  <a:lnTo>
                    <a:pt x="974" y="489"/>
                  </a:lnTo>
                  <a:lnTo>
                    <a:pt x="970" y="514"/>
                  </a:lnTo>
                  <a:lnTo>
                    <a:pt x="965" y="539"/>
                  </a:lnTo>
                  <a:lnTo>
                    <a:pt x="958" y="561"/>
                  </a:lnTo>
                  <a:lnTo>
                    <a:pt x="948" y="582"/>
                  </a:lnTo>
                  <a:lnTo>
                    <a:pt x="937" y="603"/>
                  </a:lnTo>
                  <a:lnTo>
                    <a:pt x="925" y="622"/>
                  </a:lnTo>
                  <a:lnTo>
                    <a:pt x="911" y="640"/>
                  </a:lnTo>
                  <a:lnTo>
                    <a:pt x="894" y="657"/>
                  </a:lnTo>
                  <a:lnTo>
                    <a:pt x="878" y="670"/>
                  </a:lnTo>
                  <a:lnTo>
                    <a:pt x="860" y="683"/>
                  </a:lnTo>
                  <a:lnTo>
                    <a:pt x="841" y="692"/>
                  </a:lnTo>
                  <a:lnTo>
                    <a:pt x="822" y="701"/>
                  </a:lnTo>
                  <a:lnTo>
                    <a:pt x="801" y="708"/>
                  </a:lnTo>
                  <a:lnTo>
                    <a:pt x="779" y="710"/>
                  </a:lnTo>
                  <a:lnTo>
                    <a:pt x="757" y="712"/>
                  </a:lnTo>
                  <a:lnTo>
                    <a:pt x="735" y="710"/>
                  </a:lnTo>
                  <a:lnTo>
                    <a:pt x="714" y="708"/>
                  </a:lnTo>
                  <a:lnTo>
                    <a:pt x="694" y="701"/>
                  </a:lnTo>
                  <a:lnTo>
                    <a:pt x="673" y="692"/>
                  </a:lnTo>
                  <a:lnTo>
                    <a:pt x="655" y="683"/>
                  </a:lnTo>
                  <a:lnTo>
                    <a:pt x="636" y="670"/>
                  </a:lnTo>
                  <a:lnTo>
                    <a:pt x="620" y="657"/>
                  </a:lnTo>
                  <a:lnTo>
                    <a:pt x="605" y="640"/>
                  </a:lnTo>
                  <a:lnTo>
                    <a:pt x="591" y="622"/>
                  </a:lnTo>
                  <a:lnTo>
                    <a:pt x="577" y="603"/>
                  </a:lnTo>
                  <a:lnTo>
                    <a:pt x="566" y="582"/>
                  </a:lnTo>
                  <a:lnTo>
                    <a:pt x="556" y="561"/>
                  </a:lnTo>
                  <a:lnTo>
                    <a:pt x="550" y="539"/>
                  </a:lnTo>
                  <a:lnTo>
                    <a:pt x="544" y="514"/>
                  </a:lnTo>
                  <a:lnTo>
                    <a:pt x="540" y="489"/>
                  </a:lnTo>
                  <a:lnTo>
                    <a:pt x="540" y="463"/>
                  </a:lnTo>
                  <a:lnTo>
                    <a:pt x="540" y="434"/>
                  </a:lnTo>
                  <a:lnTo>
                    <a:pt x="569" y="438"/>
                  </a:lnTo>
                  <a:lnTo>
                    <a:pt x="599" y="440"/>
                  </a:lnTo>
                  <a:lnTo>
                    <a:pt x="627" y="438"/>
                  </a:lnTo>
                  <a:lnTo>
                    <a:pt x="654" y="434"/>
                  </a:lnTo>
                  <a:lnTo>
                    <a:pt x="680" y="429"/>
                  </a:lnTo>
                  <a:lnTo>
                    <a:pt x="705" y="422"/>
                  </a:lnTo>
                  <a:lnTo>
                    <a:pt x="730" y="412"/>
                  </a:lnTo>
                  <a:lnTo>
                    <a:pt x="753" y="400"/>
                  </a:lnTo>
                  <a:lnTo>
                    <a:pt x="776" y="386"/>
                  </a:lnTo>
                  <a:lnTo>
                    <a:pt x="797" y="371"/>
                  </a:lnTo>
                  <a:lnTo>
                    <a:pt x="818" y="354"/>
                  </a:lnTo>
                  <a:lnTo>
                    <a:pt x="835" y="337"/>
                  </a:lnTo>
                  <a:lnTo>
                    <a:pt x="852" y="316"/>
                  </a:lnTo>
                  <a:lnTo>
                    <a:pt x="868" y="295"/>
                  </a:lnTo>
                  <a:lnTo>
                    <a:pt x="882" y="273"/>
                  </a:lnTo>
                  <a:lnTo>
                    <a:pt x="893" y="250"/>
                  </a:lnTo>
                  <a:lnTo>
                    <a:pt x="903" y="225"/>
                  </a:lnTo>
                  <a:lnTo>
                    <a:pt x="911" y="199"/>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000000"/>
                </a:solidFill>
              </a:endParaRPr>
            </a:p>
          </p:txBody>
        </p:sp>
        <p:sp>
          <p:nvSpPr>
            <p:cNvPr id="17" name="Freeform 108"/>
            <p:cNvSpPr>
              <a:spLocks noChangeAspect="1" noEditPoints="1"/>
            </p:cNvSpPr>
            <p:nvPr/>
          </p:nvSpPr>
          <p:spPr bwMode="gray">
            <a:xfrm>
              <a:off x="6287830" y="5337664"/>
              <a:ext cx="128183" cy="359148"/>
            </a:xfrm>
            <a:custGeom>
              <a:avLst/>
              <a:gdLst>
                <a:gd name="T0" fmla="*/ 2147483647 w 1700"/>
                <a:gd name="T1" fmla="*/ 2147483647 h 4763"/>
                <a:gd name="T2" fmla="*/ 2147483647 w 1700"/>
                <a:gd name="T3" fmla="*/ 2147483647 h 4763"/>
                <a:gd name="T4" fmla="*/ 2147483647 w 1700"/>
                <a:gd name="T5" fmla="*/ 2147483647 h 4763"/>
                <a:gd name="T6" fmla="*/ 2147483647 w 1700"/>
                <a:gd name="T7" fmla="*/ 2147483647 h 4763"/>
                <a:gd name="T8" fmla="*/ 2147483647 w 1700"/>
                <a:gd name="T9" fmla="*/ 2147483647 h 4763"/>
                <a:gd name="T10" fmla="*/ 2147483647 w 1700"/>
                <a:gd name="T11" fmla="*/ 2147483647 h 4763"/>
                <a:gd name="T12" fmla="*/ 2147483647 w 1700"/>
                <a:gd name="T13" fmla="*/ 2147483647 h 4763"/>
                <a:gd name="T14" fmla="*/ 2147483647 w 1700"/>
                <a:gd name="T15" fmla="*/ 2147483647 h 4763"/>
                <a:gd name="T16" fmla="*/ 2147483647 w 1700"/>
                <a:gd name="T17" fmla="*/ 2147483647 h 4763"/>
                <a:gd name="T18" fmla="*/ 2147483647 w 1700"/>
                <a:gd name="T19" fmla="*/ 2147483647 h 4763"/>
                <a:gd name="T20" fmla="*/ 2147483647 w 1700"/>
                <a:gd name="T21" fmla="*/ 2147483647 h 4763"/>
                <a:gd name="T22" fmla="*/ 2147483647 w 1700"/>
                <a:gd name="T23" fmla="*/ 2147483647 h 4763"/>
                <a:gd name="T24" fmla="*/ 2147483647 w 1700"/>
                <a:gd name="T25" fmla="*/ 2147483647 h 4763"/>
                <a:gd name="T26" fmla="*/ 2147483647 w 1700"/>
                <a:gd name="T27" fmla="*/ 2147483647 h 4763"/>
                <a:gd name="T28" fmla="*/ 2147483647 w 1700"/>
                <a:gd name="T29" fmla="*/ 2147483647 h 4763"/>
                <a:gd name="T30" fmla="*/ 2147483647 w 1700"/>
                <a:gd name="T31" fmla="*/ 2147483647 h 4763"/>
                <a:gd name="T32" fmla="*/ 2147483647 w 1700"/>
                <a:gd name="T33" fmla="*/ 2147483647 h 4763"/>
                <a:gd name="T34" fmla="*/ 2147483647 w 1700"/>
                <a:gd name="T35" fmla="*/ 2147483647 h 4763"/>
                <a:gd name="T36" fmla="*/ 2147483647 w 1700"/>
                <a:gd name="T37" fmla="*/ 2147483647 h 4763"/>
                <a:gd name="T38" fmla="*/ 2147483647 w 1700"/>
                <a:gd name="T39" fmla="*/ 2147483647 h 4763"/>
                <a:gd name="T40" fmla="*/ 2147483647 w 1700"/>
                <a:gd name="T41" fmla="*/ 0 h 4763"/>
                <a:gd name="T42" fmla="*/ 2147483647 w 1700"/>
                <a:gd name="T43" fmla="*/ 2147483647 h 4763"/>
                <a:gd name="T44" fmla="*/ 2147483647 w 1700"/>
                <a:gd name="T45" fmla="*/ 2147483647 h 4763"/>
                <a:gd name="T46" fmla="*/ 2147483647 w 1700"/>
                <a:gd name="T47" fmla="*/ 2147483647 h 4763"/>
                <a:gd name="T48" fmla="*/ 2147483647 w 1700"/>
                <a:gd name="T49" fmla="*/ 2147483647 h 4763"/>
                <a:gd name="T50" fmla="*/ 2147483647 w 1700"/>
                <a:gd name="T51" fmla="*/ 2147483647 h 4763"/>
                <a:gd name="T52" fmla="*/ 2147483647 w 1700"/>
                <a:gd name="T53" fmla="*/ 2147483647 h 4763"/>
                <a:gd name="T54" fmla="*/ 2147483647 w 1700"/>
                <a:gd name="T55" fmla="*/ 2147483647 h 4763"/>
                <a:gd name="T56" fmla="*/ 2147483647 w 1700"/>
                <a:gd name="T57" fmla="*/ 2147483647 h 4763"/>
                <a:gd name="T58" fmla="*/ 2147483647 w 1700"/>
                <a:gd name="T59" fmla="*/ 2147483647 h 4763"/>
                <a:gd name="T60" fmla="*/ 2147483647 w 1700"/>
                <a:gd name="T61" fmla="*/ 2147483647 h 4763"/>
                <a:gd name="T62" fmla="*/ 2147483647 w 1700"/>
                <a:gd name="T63" fmla="*/ 2147483647 h 4763"/>
                <a:gd name="T64" fmla="*/ 2147483647 w 1700"/>
                <a:gd name="T65" fmla="*/ 2147483647 h 4763"/>
                <a:gd name="T66" fmla="*/ 2147483647 w 1700"/>
                <a:gd name="T67" fmla="*/ 2147483647 h 4763"/>
                <a:gd name="T68" fmla="*/ 2147483647 w 1700"/>
                <a:gd name="T69" fmla="*/ 2147483647 h 4763"/>
                <a:gd name="T70" fmla="*/ 2147483647 w 1700"/>
                <a:gd name="T71" fmla="*/ 2147483647 h 4763"/>
                <a:gd name="T72" fmla="*/ 2147483647 w 1700"/>
                <a:gd name="T73" fmla="*/ 2147483647 h 4763"/>
                <a:gd name="T74" fmla="*/ 2147483647 w 1700"/>
                <a:gd name="T75" fmla="*/ 2147483647 h 4763"/>
                <a:gd name="T76" fmla="*/ 2147483647 w 1700"/>
                <a:gd name="T77" fmla="*/ 2147483647 h 4763"/>
                <a:gd name="T78" fmla="*/ 2147483647 w 1700"/>
                <a:gd name="T79" fmla="*/ 2147483647 h 4763"/>
                <a:gd name="T80" fmla="*/ 2147483647 w 1700"/>
                <a:gd name="T81" fmla="*/ 2147483647 h 4763"/>
                <a:gd name="T82" fmla="*/ 2147483647 w 1700"/>
                <a:gd name="T83" fmla="*/ 2147483647 h 4763"/>
                <a:gd name="T84" fmla="*/ 2147483647 w 1700"/>
                <a:gd name="T85" fmla="*/ 2147483647 h 4763"/>
                <a:gd name="T86" fmla="*/ 2147483647 w 1700"/>
                <a:gd name="T87" fmla="*/ 2147483647 h 4763"/>
                <a:gd name="T88" fmla="*/ 2147483647 w 1700"/>
                <a:gd name="T89" fmla="*/ 2147483647 h 4763"/>
                <a:gd name="T90" fmla="*/ 0 w 1700"/>
                <a:gd name="T91" fmla="*/ 2147483647 h 4763"/>
                <a:gd name="T92" fmla="*/ 2147483647 w 1700"/>
                <a:gd name="T93" fmla="*/ 2147483647 h 4763"/>
                <a:gd name="T94" fmla="*/ 2147483647 w 1700"/>
                <a:gd name="T95" fmla="*/ 2147483647 h 4763"/>
                <a:gd name="T96" fmla="*/ 2147483647 w 1700"/>
                <a:gd name="T97" fmla="*/ 2147483647 h 4763"/>
                <a:gd name="T98" fmla="*/ 2147483647 w 1700"/>
                <a:gd name="T99" fmla="*/ 2147483647 h 4763"/>
                <a:gd name="T100" fmla="*/ 2147483647 w 1700"/>
                <a:gd name="T101" fmla="*/ 2147483647 h 4763"/>
                <a:gd name="T102" fmla="*/ 2147483647 w 1700"/>
                <a:gd name="T103" fmla="*/ 2147483647 h 4763"/>
                <a:gd name="T104" fmla="*/ 2147483647 w 1700"/>
                <a:gd name="T105" fmla="*/ 2147483647 h 4763"/>
                <a:gd name="T106" fmla="*/ 2147483647 w 1700"/>
                <a:gd name="T107" fmla="*/ 2147483647 h 4763"/>
                <a:gd name="T108" fmla="*/ 2147483647 w 1700"/>
                <a:gd name="T109" fmla="*/ 2147483647 h 4763"/>
                <a:gd name="T110" fmla="*/ 2147483647 w 1700"/>
                <a:gd name="T111" fmla="*/ 2147483647 h 4763"/>
                <a:gd name="T112" fmla="*/ 2147483647 w 1700"/>
                <a:gd name="T113" fmla="*/ 2147483647 h 4763"/>
                <a:gd name="T114" fmla="*/ 2147483647 w 1700"/>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00"/>
                <a:gd name="T175" fmla="*/ 0 h 4763"/>
                <a:gd name="T176" fmla="*/ 1700 w 1700"/>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00" h="4763">
                  <a:moveTo>
                    <a:pt x="638" y="216"/>
                  </a:moveTo>
                  <a:lnTo>
                    <a:pt x="638" y="216"/>
                  </a:lnTo>
                  <a:lnTo>
                    <a:pt x="634" y="235"/>
                  </a:lnTo>
                  <a:lnTo>
                    <a:pt x="630" y="255"/>
                  </a:lnTo>
                  <a:lnTo>
                    <a:pt x="628" y="276"/>
                  </a:lnTo>
                  <a:lnTo>
                    <a:pt x="628" y="297"/>
                  </a:lnTo>
                  <a:lnTo>
                    <a:pt x="628" y="368"/>
                  </a:lnTo>
                  <a:lnTo>
                    <a:pt x="628" y="393"/>
                  </a:lnTo>
                  <a:lnTo>
                    <a:pt x="632" y="418"/>
                  </a:lnTo>
                  <a:lnTo>
                    <a:pt x="637" y="442"/>
                  </a:lnTo>
                  <a:lnTo>
                    <a:pt x="645" y="465"/>
                  </a:lnTo>
                  <a:lnTo>
                    <a:pt x="653" y="486"/>
                  </a:lnTo>
                  <a:lnTo>
                    <a:pt x="665" y="506"/>
                  </a:lnTo>
                  <a:lnTo>
                    <a:pt x="677" y="525"/>
                  </a:lnTo>
                  <a:lnTo>
                    <a:pt x="691" y="542"/>
                  </a:lnTo>
                  <a:lnTo>
                    <a:pt x="706" y="558"/>
                  </a:lnTo>
                  <a:lnTo>
                    <a:pt x="723" y="571"/>
                  </a:lnTo>
                  <a:lnTo>
                    <a:pt x="741" y="583"/>
                  </a:lnTo>
                  <a:lnTo>
                    <a:pt x="759" y="594"/>
                  </a:lnTo>
                  <a:lnTo>
                    <a:pt x="778" y="602"/>
                  </a:lnTo>
                  <a:lnTo>
                    <a:pt x="799" y="607"/>
                  </a:lnTo>
                  <a:lnTo>
                    <a:pt x="819" y="611"/>
                  </a:lnTo>
                  <a:lnTo>
                    <a:pt x="841" y="612"/>
                  </a:lnTo>
                  <a:lnTo>
                    <a:pt x="863" y="611"/>
                  </a:lnTo>
                  <a:lnTo>
                    <a:pt x="883" y="607"/>
                  </a:lnTo>
                  <a:lnTo>
                    <a:pt x="904" y="602"/>
                  </a:lnTo>
                  <a:lnTo>
                    <a:pt x="922" y="594"/>
                  </a:lnTo>
                  <a:lnTo>
                    <a:pt x="941" y="583"/>
                  </a:lnTo>
                  <a:lnTo>
                    <a:pt x="959" y="571"/>
                  </a:lnTo>
                  <a:lnTo>
                    <a:pt x="975" y="558"/>
                  </a:lnTo>
                  <a:lnTo>
                    <a:pt x="990" y="542"/>
                  </a:lnTo>
                  <a:lnTo>
                    <a:pt x="1005" y="525"/>
                  </a:lnTo>
                  <a:lnTo>
                    <a:pt x="1017" y="506"/>
                  </a:lnTo>
                  <a:lnTo>
                    <a:pt x="1028" y="486"/>
                  </a:lnTo>
                  <a:lnTo>
                    <a:pt x="1036" y="465"/>
                  </a:lnTo>
                  <a:lnTo>
                    <a:pt x="1044" y="442"/>
                  </a:lnTo>
                  <a:lnTo>
                    <a:pt x="1050" y="418"/>
                  </a:lnTo>
                  <a:lnTo>
                    <a:pt x="1054" y="393"/>
                  </a:lnTo>
                  <a:lnTo>
                    <a:pt x="1054" y="368"/>
                  </a:lnTo>
                  <a:lnTo>
                    <a:pt x="1054" y="297"/>
                  </a:lnTo>
                  <a:lnTo>
                    <a:pt x="1054" y="274"/>
                  </a:lnTo>
                  <a:lnTo>
                    <a:pt x="1051" y="251"/>
                  </a:lnTo>
                  <a:lnTo>
                    <a:pt x="1046" y="230"/>
                  </a:lnTo>
                  <a:lnTo>
                    <a:pt x="1040" y="208"/>
                  </a:lnTo>
                  <a:lnTo>
                    <a:pt x="1032" y="198"/>
                  </a:lnTo>
                  <a:lnTo>
                    <a:pt x="1025" y="189"/>
                  </a:lnTo>
                  <a:lnTo>
                    <a:pt x="1017" y="179"/>
                  </a:lnTo>
                  <a:lnTo>
                    <a:pt x="1007" y="171"/>
                  </a:lnTo>
                  <a:lnTo>
                    <a:pt x="997" y="163"/>
                  </a:lnTo>
                  <a:lnTo>
                    <a:pt x="986" y="157"/>
                  </a:lnTo>
                  <a:lnTo>
                    <a:pt x="963" y="145"/>
                  </a:lnTo>
                  <a:lnTo>
                    <a:pt x="952" y="158"/>
                  </a:lnTo>
                  <a:lnTo>
                    <a:pt x="938" y="170"/>
                  </a:lnTo>
                  <a:lnTo>
                    <a:pt x="924" y="181"/>
                  </a:lnTo>
                  <a:lnTo>
                    <a:pt x="908" y="190"/>
                  </a:lnTo>
                  <a:lnTo>
                    <a:pt x="892" y="197"/>
                  </a:lnTo>
                  <a:lnTo>
                    <a:pt x="873" y="202"/>
                  </a:lnTo>
                  <a:lnTo>
                    <a:pt x="855" y="206"/>
                  </a:lnTo>
                  <a:lnTo>
                    <a:pt x="836" y="207"/>
                  </a:lnTo>
                  <a:lnTo>
                    <a:pt x="817" y="206"/>
                  </a:lnTo>
                  <a:lnTo>
                    <a:pt x="800" y="203"/>
                  </a:lnTo>
                  <a:lnTo>
                    <a:pt x="783" y="198"/>
                  </a:lnTo>
                  <a:lnTo>
                    <a:pt x="767" y="191"/>
                  </a:lnTo>
                  <a:lnTo>
                    <a:pt x="751" y="183"/>
                  </a:lnTo>
                  <a:lnTo>
                    <a:pt x="737" y="173"/>
                  </a:lnTo>
                  <a:lnTo>
                    <a:pt x="725" y="162"/>
                  </a:lnTo>
                  <a:lnTo>
                    <a:pt x="713" y="149"/>
                  </a:lnTo>
                  <a:lnTo>
                    <a:pt x="690" y="162"/>
                  </a:lnTo>
                  <a:lnTo>
                    <a:pt x="679" y="169"/>
                  </a:lnTo>
                  <a:lnTo>
                    <a:pt x="670" y="178"/>
                  </a:lnTo>
                  <a:lnTo>
                    <a:pt x="661" y="186"/>
                  </a:lnTo>
                  <a:lnTo>
                    <a:pt x="653" y="195"/>
                  </a:lnTo>
                  <a:lnTo>
                    <a:pt x="645" y="206"/>
                  </a:lnTo>
                  <a:lnTo>
                    <a:pt x="638" y="216"/>
                  </a:lnTo>
                  <a:close/>
                  <a:moveTo>
                    <a:pt x="841" y="0"/>
                  </a:moveTo>
                  <a:lnTo>
                    <a:pt x="841" y="0"/>
                  </a:lnTo>
                  <a:lnTo>
                    <a:pt x="868" y="1"/>
                  </a:lnTo>
                  <a:lnTo>
                    <a:pt x="896" y="5"/>
                  </a:lnTo>
                  <a:lnTo>
                    <a:pt x="921" y="13"/>
                  </a:lnTo>
                  <a:lnTo>
                    <a:pt x="946" y="24"/>
                  </a:lnTo>
                  <a:lnTo>
                    <a:pt x="969" y="36"/>
                  </a:lnTo>
                  <a:lnTo>
                    <a:pt x="991" y="50"/>
                  </a:lnTo>
                  <a:lnTo>
                    <a:pt x="1011" y="68"/>
                  </a:lnTo>
                  <a:lnTo>
                    <a:pt x="1031" y="88"/>
                  </a:lnTo>
                  <a:lnTo>
                    <a:pt x="1047" y="109"/>
                  </a:lnTo>
                  <a:lnTo>
                    <a:pt x="1063" y="131"/>
                  </a:lnTo>
                  <a:lnTo>
                    <a:pt x="1076" y="157"/>
                  </a:lnTo>
                  <a:lnTo>
                    <a:pt x="1087" y="182"/>
                  </a:lnTo>
                  <a:lnTo>
                    <a:pt x="1096" y="210"/>
                  </a:lnTo>
                  <a:lnTo>
                    <a:pt x="1103" y="238"/>
                  </a:lnTo>
                  <a:lnTo>
                    <a:pt x="1107" y="267"/>
                  </a:lnTo>
                  <a:lnTo>
                    <a:pt x="1107" y="296"/>
                  </a:lnTo>
                  <a:lnTo>
                    <a:pt x="1108" y="340"/>
                  </a:lnTo>
                  <a:lnTo>
                    <a:pt x="1108" y="369"/>
                  </a:lnTo>
                  <a:lnTo>
                    <a:pt x="1108" y="380"/>
                  </a:lnTo>
                  <a:lnTo>
                    <a:pt x="1107" y="385"/>
                  </a:lnTo>
                  <a:lnTo>
                    <a:pt x="1105" y="413"/>
                  </a:lnTo>
                  <a:lnTo>
                    <a:pt x="1101" y="441"/>
                  </a:lnTo>
                  <a:lnTo>
                    <a:pt x="1095" y="467"/>
                  </a:lnTo>
                  <a:lnTo>
                    <a:pt x="1086" y="494"/>
                  </a:lnTo>
                  <a:lnTo>
                    <a:pt x="1074" y="518"/>
                  </a:lnTo>
                  <a:lnTo>
                    <a:pt x="1060" y="542"/>
                  </a:lnTo>
                  <a:lnTo>
                    <a:pt x="1044" y="563"/>
                  </a:lnTo>
                  <a:lnTo>
                    <a:pt x="1027" y="583"/>
                  </a:lnTo>
                  <a:lnTo>
                    <a:pt x="1009" y="602"/>
                  </a:lnTo>
                  <a:lnTo>
                    <a:pt x="989" y="617"/>
                  </a:lnTo>
                  <a:lnTo>
                    <a:pt x="966" y="631"/>
                  </a:lnTo>
                  <a:lnTo>
                    <a:pt x="944" y="643"/>
                  </a:lnTo>
                  <a:lnTo>
                    <a:pt x="918" y="652"/>
                  </a:lnTo>
                  <a:lnTo>
                    <a:pt x="893" y="660"/>
                  </a:lnTo>
                  <a:lnTo>
                    <a:pt x="868" y="664"/>
                  </a:lnTo>
                  <a:lnTo>
                    <a:pt x="841" y="665"/>
                  </a:lnTo>
                  <a:lnTo>
                    <a:pt x="814" y="664"/>
                  </a:lnTo>
                  <a:lnTo>
                    <a:pt x="788" y="660"/>
                  </a:lnTo>
                  <a:lnTo>
                    <a:pt x="763" y="652"/>
                  </a:lnTo>
                  <a:lnTo>
                    <a:pt x="738" y="643"/>
                  </a:lnTo>
                  <a:lnTo>
                    <a:pt x="715" y="631"/>
                  </a:lnTo>
                  <a:lnTo>
                    <a:pt x="693" y="617"/>
                  </a:lnTo>
                  <a:lnTo>
                    <a:pt x="673" y="602"/>
                  </a:lnTo>
                  <a:lnTo>
                    <a:pt x="654" y="583"/>
                  </a:lnTo>
                  <a:lnTo>
                    <a:pt x="637" y="563"/>
                  </a:lnTo>
                  <a:lnTo>
                    <a:pt x="621" y="542"/>
                  </a:lnTo>
                  <a:lnTo>
                    <a:pt x="608" y="518"/>
                  </a:lnTo>
                  <a:lnTo>
                    <a:pt x="596" y="494"/>
                  </a:lnTo>
                  <a:lnTo>
                    <a:pt x="587" y="467"/>
                  </a:lnTo>
                  <a:lnTo>
                    <a:pt x="580" y="441"/>
                  </a:lnTo>
                  <a:lnTo>
                    <a:pt x="576" y="413"/>
                  </a:lnTo>
                  <a:lnTo>
                    <a:pt x="575" y="385"/>
                  </a:lnTo>
                  <a:lnTo>
                    <a:pt x="573" y="380"/>
                  </a:lnTo>
                  <a:lnTo>
                    <a:pt x="573" y="369"/>
                  </a:lnTo>
                  <a:lnTo>
                    <a:pt x="573" y="340"/>
                  </a:lnTo>
                  <a:lnTo>
                    <a:pt x="575" y="297"/>
                  </a:lnTo>
                  <a:lnTo>
                    <a:pt x="576" y="267"/>
                  </a:lnTo>
                  <a:lnTo>
                    <a:pt x="579" y="238"/>
                  </a:lnTo>
                  <a:lnTo>
                    <a:pt x="585" y="210"/>
                  </a:lnTo>
                  <a:lnTo>
                    <a:pt x="595" y="182"/>
                  </a:lnTo>
                  <a:lnTo>
                    <a:pt x="605" y="157"/>
                  </a:lnTo>
                  <a:lnTo>
                    <a:pt x="618" y="131"/>
                  </a:lnTo>
                  <a:lnTo>
                    <a:pt x="634" y="109"/>
                  </a:lnTo>
                  <a:lnTo>
                    <a:pt x="650" y="88"/>
                  </a:lnTo>
                  <a:lnTo>
                    <a:pt x="670" y="69"/>
                  </a:lnTo>
                  <a:lnTo>
                    <a:pt x="690" y="50"/>
                  </a:lnTo>
                  <a:lnTo>
                    <a:pt x="713" y="36"/>
                  </a:lnTo>
                  <a:lnTo>
                    <a:pt x="735" y="24"/>
                  </a:lnTo>
                  <a:lnTo>
                    <a:pt x="760" y="13"/>
                  </a:lnTo>
                  <a:lnTo>
                    <a:pt x="786" y="5"/>
                  </a:lnTo>
                  <a:lnTo>
                    <a:pt x="814" y="1"/>
                  </a:lnTo>
                  <a:lnTo>
                    <a:pt x="841" y="0"/>
                  </a:lnTo>
                  <a:close/>
                  <a:moveTo>
                    <a:pt x="1417" y="3144"/>
                  </a:moveTo>
                  <a:lnTo>
                    <a:pt x="1538" y="3046"/>
                  </a:lnTo>
                  <a:lnTo>
                    <a:pt x="1600" y="2791"/>
                  </a:lnTo>
                  <a:lnTo>
                    <a:pt x="1655" y="2791"/>
                  </a:lnTo>
                  <a:lnTo>
                    <a:pt x="1585" y="3077"/>
                  </a:lnTo>
                  <a:lnTo>
                    <a:pt x="1413" y="3215"/>
                  </a:lnTo>
                  <a:lnTo>
                    <a:pt x="1343" y="4763"/>
                  </a:lnTo>
                  <a:lnTo>
                    <a:pt x="897" y="4763"/>
                  </a:lnTo>
                  <a:lnTo>
                    <a:pt x="897" y="2726"/>
                  </a:lnTo>
                  <a:lnTo>
                    <a:pt x="844" y="2726"/>
                  </a:lnTo>
                  <a:lnTo>
                    <a:pt x="844" y="4763"/>
                  </a:lnTo>
                  <a:lnTo>
                    <a:pt x="398" y="4763"/>
                  </a:lnTo>
                  <a:lnTo>
                    <a:pt x="326" y="3217"/>
                  </a:lnTo>
                  <a:lnTo>
                    <a:pt x="153" y="3077"/>
                  </a:lnTo>
                  <a:lnTo>
                    <a:pt x="82" y="2791"/>
                  </a:lnTo>
                  <a:lnTo>
                    <a:pt x="137" y="2791"/>
                  </a:lnTo>
                  <a:lnTo>
                    <a:pt x="199" y="3046"/>
                  </a:lnTo>
                  <a:lnTo>
                    <a:pt x="322" y="3147"/>
                  </a:lnTo>
                  <a:lnTo>
                    <a:pt x="304" y="2738"/>
                  </a:lnTo>
                  <a:lnTo>
                    <a:pt x="300" y="2738"/>
                  </a:lnTo>
                  <a:lnTo>
                    <a:pt x="0" y="2738"/>
                  </a:lnTo>
                  <a:lnTo>
                    <a:pt x="0" y="1086"/>
                  </a:lnTo>
                  <a:lnTo>
                    <a:pt x="1" y="1065"/>
                  </a:lnTo>
                  <a:lnTo>
                    <a:pt x="4" y="1045"/>
                  </a:lnTo>
                  <a:lnTo>
                    <a:pt x="9" y="1028"/>
                  </a:lnTo>
                  <a:lnTo>
                    <a:pt x="16" y="1012"/>
                  </a:lnTo>
                  <a:lnTo>
                    <a:pt x="25" y="997"/>
                  </a:lnTo>
                  <a:lnTo>
                    <a:pt x="35" y="983"/>
                  </a:lnTo>
                  <a:lnTo>
                    <a:pt x="46" y="971"/>
                  </a:lnTo>
                  <a:lnTo>
                    <a:pt x="60" y="959"/>
                  </a:lnTo>
                  <a:lnTo>
                    <a:pt x="74" y="948"/>
                  </a:lnTo>
                  <a:lnTo>
                    <a:pt x="89" y="939"/>
                  </a:lnTo>
                  <a:lnTo>
                    <a:pt x="106" y="929"/>
                  </a:lnTo>
                  <a:lnTo>
                    <a:pt x="123" y="920"/>
                  </a:lnTo>
                  <a:lnTo>
                    <a:pt x="162" y="904"/>
                  </a:lnTo>
                  <a:lnTo>
                    <a:pt x="202" y="890"/>
                  </a:lnTo>
                  <a:lnTo>
                    <a:pt x="606" y="742"/>
                  </a:lnTo>
                  <a:lnTo>
                    <a:pt x="738" y="1522"/>
                  </a:lnTo>
                  <a:lnTo>
                    <a:pt x="806" y="916"/>
                  </a:lnTo>
                  <a:lnTo>
                    <a:pt x="790" y="908"/>
                  </a:lnTo>
                  <a:lnTo>
                    <a:pt x="774" y="898"/>
                  </a:lnTo>
                  <a:lnTo>
                    <a:pt x="760" y="886"/>
                  </a:lnTo>
                  <a:lnTo>
                    <a:pt x="750" y="871"/>
                  </a:lnTo>
                  <a:lnTo>
                    <a:pt x="851" y="775"/>
                  </a:lnTo>
                  <a:lnTo>
                    <a:pt x="952" y="871"/>
                  </a:lnTo>
                  <a:lnTo>
                    <a:pt x="940" y="886"/>
                  </a:lnTo>
                  <a:lnTo>
                    <a:pt x="926" y="898"/>
                  </a:lnTo>
                  <a:lnTo>
                    <a:pt x="912" y="908"/>
                  </a:lnTo>
                  <a:lnTo>
                    <a:pt x="894" y="916"/>
                  </a:lnTo>
                  <a:lnTo>
                    <a:pt x="962" y="1522"/>
                  </a:lnTo>
                  <a:lnTo>
                    <a:pt x="1095" y="742"/>
                  </a:lnTo>
                  <a:lnTo>
                    <a:pt x="1500" y="890"/>
                  </a:lnTo>
                  <a:lnTo>
                    <a:pt x="1539" y="904"/>
                  </a:lnTo>
                  <a:lnTo>
                    <a:pt x="1577" y="920"/>
                  </a:lnTo>
                  <a:lnTo>
                    <a:pt x="1594" y="929"/>
                  </a:lnTo>
                  <a:lnTo>
                    <a:pt x="1611" y="939"/>
                  </a:lnTo>
                  <a:lnTo>
                    <a:pt x="1627" y="948"/>
                  </a:lnTo>
                  <a:lnTo>
                    <a:pt x="1642" y="959"/>
                  </a:lnTo>
                  <a:lnTo>
                    <a:pt x="1654" y="971"/>
                  </a:lnTo>
                  <a:lnTo>
                    <a:pt x="1665" y="983"/>
                  </a:lnTo>
                  <a:lnTo>
                    <a:pt x="1676" y="997"/>
                  </a:lnTo>
                  <a:lnTo>
                    <a:pt x="1684" y="1012"/>
                  </a:lnTo>
                  <a:lnTo>
                    <a:pt x="1691" y="1028"/>
                  </a:lnTo>
                  <a:lnTo>
                    <a:pt x="1696" y="1045"/>
                  </a:lnTo>
                  <a:lnTo>
                    <a:pt x="1699" y="1065"/>
                  </a:lnTo>
                  <a:lnTo>
                    <a:pt x="1700" y="1086"/>
                  </a:lnTo>
                  <a:lnTo>
                    <a:pt x="1700" y="2738"/>
                  </a:lnTo>
                  <a:lnTo>
                    <a:pt x="1436" y="2738"/>
                  </a:lnTo>
                  <a:lnTo>
                    <a:pt x="1417" y="3144"/>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000000"/>
                </a:solidFill>
              </a:endParaRPr>
            </a:p>
          </p:txBody>
        </p:sp>
        <p:sp>
          <p:nvSpPr>
            <p:cNvPr id="18" name="Freeform 63"/>
            <p:cNvSpPr>
              <a:spLocks noChangeAspect="1" noEditPoints="1"/>
            </p:cNvSpPr>
            <p:nvPr/>
          </p:nvSpPr>
          <p:spPr bwMode="gray">
            <a:xfrm>
              <a:off x="6112681" y="5337664"/>
              <a:ext cx="113415" cy="359148"/>
            </a:xfrm>
            <a:custGeom>
              <a:avLst/>
              <a:gdLst>
                <a:gd name="T0" fmla="*/ 2147483647 w 1510"/>
                <a:gd name="T1" fmla="*/ 2147483647 h 4763"/>
                <a:gd name="T2" fmla="*/ 2147483647 w 1510"/>
                <a:gd name="T3" fmla="*/ 2147483647 h 4763"/>
                <a:gd name="T4" fmla="*/ 2147483647 w 1510"/>
                <a:gd name="T5" fmla="*/ 2147483647 h 4763"/>
                <a:gd name="T6" fmla="*/ 2147483647 w 1510"/>
                <a:gd name="T7" fmla="*/ 2147483647 h 4763"/>
                <a:gd name="T8" fmla="*/ 2147483647 w 1510"/>
                <a:gd name="T9" fmla="*/ 2147483647 h 4763"/>
                <a:gd name="T10" fmla="*/ 2147483647 w 1510"/>
                <a:gd name="T11" fmla="*/ 2147483647 h 4763"/>
                <a:gd name="T12" fmla="*/ 2147483647 w 1510"/>
                <a:gd name="T13" fmla="*/ 2147483647 h 4763"/>
                <a:gd name="T14" fmla="*/ 2147483647 w 1510"/>
                <a:gd name="T15" fmla="*/ 2147483647 h 4763"/>
                <a:gd name="T16" fmla="*/ 2147483647 w 1510"/>
                <a:gd name="T17" fmla="*/ 2147483647 h 4763"/>
                <a:gd name="T18" fmla="*/ 2147483647 w 1510"/>
                <a:gd name="T19" fmla="*/ 2147483647 h 4763"/>
                <a:gd name="T20" fmla="*/ 2147483647 w 1510"/>
                <a:gd name="T21" fmla="*/ 2147483647 h 4763"/>
                <a:gd name="T22" fmla="*/ 2147483647 w 1510"/>
                <a:gd name="T23" fmla="*/ 2147483647 h 4763"/>
                <a:gd name="T24" fmla="*/ 2147483647 w 1510"/>
                <a:gd name="T25" fmla="*/ 2147483647 h 4763"/>
                <a:gd name="T26" fmla="*/ 2147483647 w 1510"/>
                <a:gd name="T27" fmla="*/ 2147483647 h 4763"/>
                <a:gd name="T28" fmla="*/ 2147483647 w 1510"/>
                <a:gd name="T29" fmla="*/ 2147483647 h 4763"/>
                <a:gd name="T30" fmla="*/ 2147483647 w 1510"/>
                <a:gd name="T31" fmla="*/ 2147483647 h 4763"/>
                <a:gd name="T32" fmla="*/ 2147483647 w 1510"/>
                <a:gd name="T33" fmla="*/ 2147483647 h 4763"/>
                <a:gd name="T34" fmla="*/ 2147483647 w 1510"/>
                <a:gd name="T35" fmla="*/ 2147483647 h 4763"/>
                <a:gd name="T36" fmla="*/ 2147483647 w 1510"/>
                <a:gd name="T37" fmla="*/ 2147483647 h 4763"/>
                <a:gd name="T38" fmla="*/ 2147483647 w 1510"/>
                <a:gd name="T39" fmla="*/ 2147483647 h 4763"/>
                <a:gd name="T40" fmla="*/ 2147483647 w 1510"/>
                <a:gd name="T41" fmla="*/ 2147483647 h 4763"/>
                <a:gd name="T42" fmla="*/ 2147483647 w 1510"/>
                <a:gd name="T43" fmla="*/ 2147483647 h 4763"/>
                <a:gd name="T44" fmla="*/ 2147483647 w 1510"/>
                <a:gd name="T45" fmla="*/ 2147483647 h 4763"/>
                <a:gd name="T46" fmla="*/ 2147483647 w 1510"/>
                <a:gd name="T47" fmla="*/ 2147483647 h 4763"/>
                <a:gd name="T48" fmla="*/ 2147483647 w 1510"/>
                <a:gd name="T49" fmla="*/ 2147483647 h 4763"/>
                <a:gd name="T50" fmla="*/ 2147483647 w 1510"/>
                <a:gd name="T51" fmla="*/ 2147483647 h 4763"/>
                <a:gd name="T52" fmla="*/ 2147483647 w 1510"/>
                <a:gd name="T53" fmla="*/ 2147483647 h 4763"/>
                <a:gd name="T54" fmla="*/ 2147483647 w 1510"/>
                <a:gd name="T55" fmla="*/ 2147483647 h 4763"/>
                <a:gd name="T56" fmla="*/ 2147483647 w 1510"/>
                <a:gd name="T57" fmla="*/ 2147483647 h 4763"/>
                <a:gd name="T58" fmla="*/ 2147483647 w 1510"/>
                <a:gd name="T59" fmla="*/ 2147483647 h 4763"/>
                <a:gd name="T60" fmla="*/ 2147483647 w 1510"/>
                <a:gd name="T61" fmla="*/ 2147483647 h 4763"/>
                <a:gd name="T62" fmla="*/ 2147483647 w 1510"/>
                <a:gd name="T63" fmla="*/ 2147483647 h 4763"/>
                <a:gd name="T64" fmla="*/ 2147483647 w 1510"/>
                <a:gd name="T65" fmla="*/ 2147483647 h 4763"/>
                <a:gd name="T66" fmla="*/ 2147483647 w 1510"/>
                <a:gd name="T67" fmla="*/ 2147483647 h 4763"/>
                <a:gd name="T68" fmla="*/ 2147483647 w 1510"/>
                <a:gd name="T69" fmla="*/ 2147483647 h 4763"/>
                <a:gd name="T70" fmla="*/ 2147483647 w 1510"/>
                <a:gd name="T71" fmla="*/ 2147483647 h 4763"/>
                <a:gd name="T72" fmla="*/ 2147483647 w 1510"/>
                <a:gd name="T73" fmla="*/ 2147483647 h 4763"/>
                <a:gd name="T74" fmla="*/ 2147483647 w 1510"/>
                <a:gd name="T75" fmla="*/ 2147483647 h 4763"/>
                <a:gd name="T76" fmla="*/ 2147483647 w 1510"/>
                <a:gd name="T77" fmla="*/ 2147483647 h 4763"/>
                <a:gd name="T78" fmla="*/ 2147483647 w 1510"/>
                <a:gd name="T79" fmla="*/ 2147483647 h 4763"/>
                <a:gd name="T80" fmla="*/ 2147483647 w 1510"/>
                <a:gd name="T81" fmla="*/ 2147483647 h 4763"/>
                <a:gd name="T82" fmla="*/ 2147483647 w 1510"/>
                <a:gd name="T83" fmla="*/ 2147483647 h 4763"/>
                <a:gd name="T84" fmla="*/ 2147483647 w 1510"/>
                <a:gd name="T85" fmla="*/ 2147483647 h 4763"/>
                <a:gd name="T86" fmla="*/ 2147483647 w 1510"/>
                <a:gd name="T87" fmla="*/ 2147483647 h 4763"/>
                <a:gd name="T88" fmla="*/ 2147483647 w 1510"/>
                <a:gd name="T89" fmla="*/ 2147483647 h 4763"/>
                <a:gd name="T90" fmla="*/ 2147483647 w 1510"/>
                <a:gd name="T91" fmla="*/ 2147483647 h 4763"/>
                <a:gd name="T92" fmla="*/ 2147483647 w 1510"/>
                <a:gd name="T93" fmla="*/ 2147483647 h 4763"/>
                <a:gd name="T94" fmla="*/ 2147483647 w 1510"/>
                <a:gd name="T95" fmla="*/ 2147483647 h 4763"/>
                <a:gd name="T96" fmla="*/ 2147483647 w 1510"/>
                <a:gd name="T97" fmla="*/ 2147483647 h 4763"/>
                <a:gd name="T98" fmla="*/ 2147483647 w 1510"/>
                <a:gd name="T99" fmla="*/ 2147483647 h 4763"/>
                <a:gd name="T100" fmla="*/ 2147483647 w 1510"/>
                <a:gd name="T101" fmla="*/ 2147483647 h 4763"/>
                <a:gd name="T102" fmla="*/ 2147483647 w 1510"/>
                <a:gd name="T103" fmla="*/ 2147483647 h 4763"/>
                <a:gd name="T104" fmla="*/ 2147483647 w 1510"/>
                <a:gd name="T105" fmla="*/ 2147483647 h 4763"/>
                <a:gd name="T106" fmla="*/ 2147483647 w 1510"/>
                <a:gd name="T107" fmla="*/ 2147483647 h 4763"/>
                <a:gd name="T108" fmla="*/ 2147483647 w 1510"/>
                <a:gd name="T109" fmla="*/ 2147483647 h 4763"/>
                <a:gd name="T110" fmla="*/ 2147483647 w 1510"/>
                <a:gd name="T111" fmla="*/ 2147483647 h 4763"/>
                <a:gd name="T112" fmla="*/ 2147483647 w 1510"/>
                <a:gd name="T113" fmla="*/ 2147483647 h 4763"/>
                <a:gd name="T114" fmla="*/ 2147483647 w 1510"/>
                <a:gd name="T115" fmla="*/ 2147483647 h 4763"/>
                <a:gd name="T116" fmla="*/ 2147483647 w 1510"/>
                <a:gd name="T117" fmla="*/ 2147483647 h 4763"/>
                <a:gd name="T118" fmla="*/ 2147483647 w 1510"/>
                <a:gd name="T119" fmla="*/ 2147483647 h 4763"/>
                <a:gd name="T120" fmla="*/ 2147483647 w 1510"/>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10"/>
                <a:gd name="T184" fmla="*/ 0 h 4763"/>
                <a:gd name="T185" fmla="*/ 1510 w 1510"/>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10" h="4763">
                  <a:moveTo>
                    <a:pt x="544" y="802"/>
                  </a:moveTo>
                  <a:lnTo>
                    <a:pt x="749" y="1234"/>
                  </a:lnTo>
                  <a:lnTo>
                    <a:pt x="951" y="806"/>
                  </a:lnTo>
                  <a:lnTo>
                    <a:pt x="1157" y="841"/>
                  </a:lnTo>
                  <a:lnTo>
                    <a:pt x="1184" y="846"/>
                  </a:lnTo>
                  <a:lnTo>
                    <a:pt x="1212" y="852"/>
                  </a:lnTo>
                  <a:lnTo>
                    <a:pt x="1238" y="860"/>
                  </a:lnTo>
                  <a:lnTo>
                    <a:pt x="1264" y="870"/>
                  </a:lnTo>
                  <a:lnTo>
                    <a:pt x="1287" y="879"/>
                  </a:lnTo>
                  <a:lnTo>
                    <a:pt x="1311" y="892"/>
                  </a:lnTo>
                  <a:lnTo>
                    <a:pt x="1333" y="907"/>
                  </a:lnTo>
                  <a:lnTo>
                    <a:pt x="1353" y="922"/>
                  </a:lnTo>
                  <a:lnTo>
                    <a:pt x="1371" y="941"/>
                  </a:lnTo>
                  <a:lnTo>
                    <a:pt x="1388" y="960"/>
                  </a:lnTo>
                  <a:lnTo>
                    <a:pt x="1403" y="984"/>
                  </a:lnTo>
                  <a:lnTo>
                    <a:pt x="1414" y="1007"/>
                  </a:lnTo>
                  <a:lnTo>
                    <a:pt x="1423" y="1034"/>
                  </a:lnTo>
                  <a:lnTo>
                    <a:pt x="1432" y="1065"/>
                  </a:lnTo>
                  <a:lnTo>
                    <a:pt x="1436" y="1096"/>
                  </a:lnTo>
                  <a:lnTo>
                    <a:pt x="1437" y="1131"/>
                  </a:lnTo>
                  <a:lnTo>
                    <a:pt x="1437" y="2330"/>
                  </a:lnTo>
                  <a:lnTo>
                    <a:pt x="1301" y="2735"/>
                  </a:lnTo>
                  <a:lnTo>
                    <a:pt x="1510" y="3779"/>
                  </a:lnTo>
                  <a:lnTo>
                    <a:pt x="1157" y="3779"/>
                  </a:lnTo>
                  <a:lnTo>
                    <a:pt x="1021" y="4763"/>
                  </a:lnTo>
                  <a:lnTo>
                    <a:pt x="910" y="4763"/>
                  </a:lnTo>
                  <a:lnTo>
                    <a:pt x="1046" y="3779"/>
                  </a:lnTo>
                  <a:lnTo>
                    <a:pt x="787" y="3779"/>
                  </a:lnTo>
                  <a:lnTo>
                    <a:pt x="782" y="4763"/>
                  </a:lnTo>
                  <a:lnTo>
                    <a:pt x="727" y="4763"/>
                  </a:lnTo>
                  <a:lnTo>
                    <a:pt x="732" y="3779"/>
                  </a:lnTo>
                  <a:lnTo>
                    <a:pt x="464" y="3779"/>
                  </a:lnTo>
                  <a:lnTo>
                    <a:pt x="599" y="4763"/>
                  </a:lnTo>
                  <a:lnTo>
                    <a:pt x="488" y="4763"/>
                  </a:lnTo>
                  <a:lnTo>
                    <a:pt x="353" y="3779"/>
                  </a:lnTo>
                  <a:lnTo>
                    <a:pt x="0" y="3779"/>
                  </a:lnTo>
                  <a:lnTo>
                    <a:pt x="213" y="2737"/>
                  </a:lnTo>
                  <a:lnTo>
                    <a:pt x="73" y="2331"/>
                  </a:lnTo>
                  <a:lnTo>
                    <a:pt x="73" y="1131"/>
                  </a:lnTo>
                  <a:lnTo>
                    <a:pt x="74" y="1098"/>
                  </a:lnTo>
                  <a:lnTo>
                    <a:pt x="78" y="1066"/>
                  </a:lnTo>
                  <a:lnTo>
                    <a:pt x="84" y="1037"/>
                  </a:lnTo>
                  <a:lnTo>
                    <a:pt x="93" y="1011"/>
                  </a:lnTo>
                  <a:lnTo>
                    <a:pt x="104" y="988"/>
                  </a:lnTo>
                  <a:lnTo>
                    <a:pt x="118" y="966"/>
                  </a:lnTo>
                  <a:lnTo>
                    <a:pt x="133" y="947"/>
                  </a:lnTo>
                  <a:lnTo>
                    <a:pt x="151" y="929"/>
                  </a:lnTo>
                  <a:lnTo>
                    <a:pt x="170" y="912"/>
                  </a:lnTo>
                  <a:lnTo>
                    <a:pt x="191" y="898"/>
                  </a:lnTo>
                  <a:lnTo>
                    <a:pt x="213" y="886"/>
                  </a:lnTo>
                  <a:lnTo>
                    <a:pt x="236" y="875"/>
                  </a:lnTo>
                  <a:lnTo>
                    <a:pt x="260" y="866"/>
                  </a:lnTo>
                  <a:lnTo>
                    <a:pt x="284" y="857"/>
                  </a:lnTo>
                  <a:lnTo>
                    <a:pt x="311" y="850"/>
                  </a:lnTo>
                  <a:lnTo>
                    <a:pt x="337" y="845"/>
                  </a:lnTo>
                  <a:lnTo>
                    <a:pt x="544" y="802"/>
                  </a:lnTo>
                  <a:close/>
                  <a:moveTo>
                    <a:pt x="956" y="919"/>
                  </a:moveTo>
                  <a:lnTo>
                    <a:pt x="747" y="1360"/>
                  </a:lnTo>
                  <a:lnTo>
                    <a:pt x="536" y="915"/>
                  </a:lnTo>
                  <a:lnTo>
                    <a:pt x="365" y="945"/>
                  </a:lnTo>
                  <a:lnTo>
                    <a:pt x="348" y="949"/>
                  </a:lnTo>
                  <a:lnTo>
                    <a:pt x="330" y="953"/>
                  </a:lnTo>
                  <a:lnTo>
                    <a:pt x="312" y="959"/>
                  </a:lnTo>
                  <a:lnTo>
                    <a:pt x="295" y="966"/>
                  </a:lnTo>
                  <a:lnTo>
                    <a:pt x="279" y="973"/>
                  </a:lnTo>
                  <a:lnTo>
                    <a:pt x="264" y="981"/>
                  </a:lnTo>
                  <a:lnTo>
                    <a:pt x="250" y="991"/>
                  </a:lnTo>
                  <a:lnTo>
                    <a:pt x="236" y="1002"/>
                  </a:lnTo>
                  <a:lnTo>
                    <a:pt x="225" y="1012"/>
                  </a:lnTo>
                  <a:lnTo>
                    <a:pt x="214" y="1026"/>
                  </a:lnTo>
                  <a:lnTo>
                    <a:pt x="205" y="1040"/>
                  </a:lnTo>
                  <a:lnTo>
                    <a:pt x="196" y="1056"/>
                  </a:lnTo>
                  <a:lnTo>
                    <a:pt x="191" y="1073"/>
                  </a:lnTo>
                  <a:lnTo>
                    <a:pt x="185" y="1091"/>
                  </a:lnTo>
                  <a:lnTo>
                    <a:pt x="183" y="1110"/>
                  </a:lnTo>
                  <a:lnTo>
                    <a:pt x="183" y="1131"/>
                  </a:lnTo>
                  <a:lnTo>
                    <a:pt x="183" y="2253"/>
                  </a:lnTo>
                  <a:lnTo>
                    <a:pt x="361" y="2253"/>
                  </a:lnTo>
                  <a:lnTo>
                    <a:pt x="404" y="2069"/>
                  </a:lnTo>
                  <a:lnTo>
                    <a:pt x="404" y="1504"/>
                  </a:lnTo>
                  <a:lnTo>
                    <a:pt x="334" y="1184"/>
                  </a:lnTo>
                  <a:lnTo>
                    <a:pt x="387" y="1172"/>
                  </a:lnTo>
                  <a:lnTo>
                    <a:pt x="459" y="1499"/>
                  </a:lnTo>
                  <a:lnTo>
                    <a:pt x="459" y="2072"/>
                  </a:lnTo>
                  <a:lnTo>
                    <a:pt x="1050" y="2072"/>
                  </a:lnTo>
                  <a:lnTo>
                    <a:pt x="1050" y="1499"/>
                  </a:lnTo>
                  <a:lnTo>
                    <a:pt x="1123" y="1172"/>
                  </a:lnTo>
                  <a:lnTo>
                    <a:pt x="1176" y="1184"/>
                  </a:lnTo>
                  <a:lnTo>
                    <a:pt x="1105" y="1504"/>
                  </a:lnTo>
                  <a:lnTo>
                    <a:pt x="1105" y="2069"/>
                  </a:lnTo>
                  <a:lnTo>
                    <a:pt x="1147" y="2253"/>
                  </a:lnTo>
                  <a:lnTo>
                    <a:pt x="1327" y="2253"/>
                  </a:lnTo>
                  <a:lnTo>
                    <a:pt x="1327" y="1131"/>
                  </a:lnTo>
                  <a:lnTo>
                    <a:pt x="1326" y="1110"/>
                  </a:lnTo>
                  <a:lnTo>
                    <a:pt x="1323" y="1092"/>
                  </a:lnTo>
                  <a:lnTo>
                    <a:pt x="1319" y="1073"/>
                  </a:lnTo>
                  <a:lnTo>
                    <a:pt x="1314" y="1056"/>
                  </a:lnTo>
                  <a:lnTo>
                    <a:pt x="1305" y="1041"/>
                  </a:lnTo>
                  <a:lnTo>
                    <a:pt x="1297" y="1028"/>
                  </a:lnTo>
                  <a:lnTo>
                    <a:pt x="1286" y="1014"/>
                  </a:lnTo>
                  <a:lnTo>
                    <a:pt x="1275" y="1002"/>
                  </a:lnTo>
                  <a:lnTo>
                    <a:pt x="1263" y="992"/>
                  </a:lnTo>
                  <a:lnTo>
                    <a:pt x="1249" y="982"/>
                  </a:lnTo>
                  <a:lnTo>
                    <a:pt x="1234" y="973"/>
                  </a:lnTo>
                  <a:lnTo>
                    <a:pt x="1219" y="966"/>
                  </a:lnTo>
                  <a:lnTo>
                    <a:pt x="1202" y="959"/>
                  </a:lnTo>
                  <a:lnTo>
                    <a:pt x="1186" y="955"/>
                  </a:lnTo>
                  <a:lnTo>
                    <a:pt x="1169" y="951"/>
                  </a:lnTo>
                  <a:lnTo>
                    <a:pt x="1151" y="947"/>
                  </a:lnTo>
                  <a:lnTo>
                    <a:pt x="956" y="919"/>
                  </a:lnTo>
                  <a:close/>
                  <a:moveTo>
                    <a:pt x="349" y="2308"/>
                  </a:moveTo>
                  <a:lnTo>
                    <a:pt x="183" y="2308"/>
                  </a:lnTo>
                  <a:lnTo>
                    <a:pt x="183" y="2311"/>
                  </a:lnTo>
                  <a:lnTo>
                    <a:pt x="282" y="2595"/>
                  </a:lnTo>
                  <a:lnTo>
                    <a:pt x="349" y="2308"/>
                  </a:lnTo>
                  <a:close/>
                  <a:moveTo>
                    <a:pt x="1327" y="2308"/>
                  </a:moveTo>
                  <a:lnTo>
                    <a:pt x="1160" y="2308"/>
                  </a:lnTo>
                  <a:lnTo>
                    <a:pt x="1227" y="2607"/>
                  </a:lnTo>
                  <a:lnTo>
                    <a:pt x="1327" y="2311"/>
                  </a:lnTo>
                  <a:lnTo>
                    <a:pt x="1327" y="2308"/>
                  </a:lnTo>
                  <a:close/>
                  <a:moveTo>
                    <a:pt x="1085" y="372"/>
                  </a:moveTo>
                  <a:lnTo>
                    <a:pt x="1085" y="445"/>
                  </a:lnTo>
                  <a:lnTo>
                    <a:pt x="1084" y="473"/>
                  </a:lnTo>
                  <a:lnTo>
                    <a:pt x="1081" y="496"/>
                  </a:lnTo>
                  <a:lnTo>
                    <a:pt x="1079" y="506"/>
                  </a:lnTo>
                  <a:lnTo>
                    <a:pt x="1076" y="515"/>
                  </a:lnTo>
                  <a:lnTo>
                    <a:pt x="1072" y="522"/>
                  </a:lnTo>
                  <a:lnTo>
                    <a:pt x="1068" y="529"/>
                  </a:lnTo>
                  <a:lnTo>
                    <a:pt x="1063" y="534"/>
                  </a:lnTo>
                  <a:lnTo>
                    <a:pt x="1058" y="540"/>
                  </a:lnTo>
                  <a:lnTo>
                    <a:pt x="1052" y="544"/>
                  </a:lnTo>
                  <a:lnTo>
                    <a:pt x="1047" y="547"/>
                  </a:lnTo>
                  <a:lnTo>
                    <a:pt x="1033" y="551"/>
                  </a:lnTo>
                  <a:lnTo>
                    <a:pt x="1018" y="552"/>
                  </a:lnTo>
                  <a:lnTo>
                    <a:pt x="1010" y="577"/>
                  </a:lnTo>
                  <a:lnTo>
                    <a:pt x="1025" y="587"/>
                  </a:lnTo>
                  <a:lnTo>
                    <a:pt x="1041" y="596"/>
                  </a:lnTo>
                  <a:lnTo>
                    <a:pt x="1058" y="603"/>
                  </a:lnTo>
                  <a:lnTo>
                    <a:pt x="1074" y="609"/>
                  </a:lnTo>
                  <a:lnTo>
                    <a:pt x="1092" y="614"/>
                  </a:lnTo>
                  <a:lnTo>
                    <a:pt x="1112" y="617"/>
                  </a:lnTo>
                  <a:lnTo>
                    <a:pt x="1129" y="618"/>
                  </a:lnTo>
                  <a:lnTo>
                    <a:pt x="1149" y="617"/>
                  </a:lnTo>
                  <a:lnTo>
                    <a:pt x="1151" y="617"/>
                  </a:lnTo>
                  <a:lnTo>
                    <a:pt x="1149" y="631"/>
                  </a:lnTo>
                  <a:lnTo>
                    <a:pt x="1146" y="643"/>
                  </a:lnTo>
                  <a:lnTo>
                    <a:pt x="1140" y="654"/>
                  </a:lnTo>
                  <a:lnTo>
                    <a:pt x="1135" y="666"/>
                  </a:lnTo>
                  <a:lnTo>
                    <a:pt x="1128" y="677"/>
                  </a:lnTo>
                  <a:lnTo>
                    <a:pt x="1120" y="687"/>
                  </a:lnTo>
                  <a:lnTo>
                    <a:pt x="1112" y="697"/>
                  </a:lnTo>
                  <a:lnTo>
                    <a:pt x="1102" y="706"/>
                  </a:lnTo>
                  <a:lnTo>
                    <a:pt x="1091" y="714"/>
                  </a:lnTo>
                  <a:lnTo>
                    <a:pt x="1080" y="721"/>
                  </a:lnTo>
                  <a:lnTo>
                    <a:pt x="1068" y="728"/>
                  </a:lnTo>
                  <a:lnTo>
                    <a:pt x="1055" y="734"/>
                  </a:lnTo>
                  <a:lnTo>
                    <a:pt x="1041" y="739"/>
                  </a:lnTo>
                  <a:lnTo>
                    <a:pt x="1028" y="743"/>
                  </a:lnTo>
                  <a:lnTo>
                    <a:pt x="1014" y="746"/>
                  </a:lnTo>
                  <a:lnTo>
                    <a:pt x="999" y="747"/>
                  </a:lnTo>
                  <a:lnTo>
                    <a:pt x="984" y="747"/>
                  </a:lnTo>
                  <a:lnTo>
                    <a:pt x="970" y="747"/>
                  </a:lnTo>
                  <a:lnTo>
                    <a:pt x="958" y="746"/>
                  </a:lnTo>
                  <a:lnTo>
                    <a:pt x="944" y="743"/>
                  </a:lnTo>
                  <a:lnTo>
                    <a:pt x="930" y="740"/>
                  </a:lnTo>
                  <a:lnTo>
                    <a:pt x="918" y="736"/>
                  </a:lnTo>
                  <a:lnTo>
                    <a:pt x="905" y="732"/>
                  </a:lnTo>
                  <a:lnTo>
                    <a:pt x="893" y="727"/>
                  </a:lnTo>
                  <a:lnTo>
                    <a:pt x="878" y="736"/>
                  </a:lnTo>
                  <a:lnTo>
                    <a:pt x="861" y="743"/>
                  </a:lnTo>
                  <a:lnTo>
                    <a:pt x="846" y="750"/>
                  </a:lnTo>
                  <a:lnTo>
                    <a:pt x="829" y="757"/>
                  </a:lnTo>
                  <a:lnTo>
                    <a:pt x="812" y="761"/>
                  </a:lnTo>
                  <a:lnTo>
                    <a:pt x="794" y="764"/>
                  </a:lnTo>
                  <a:lnTo>
                    <a:pt x="776" y="767"/>
                  </a:lnTo>
                  <a:lnTo>
                    <a:pt x="757" y="767"/>
                  </a:lnTo>
                  <a:lnTo>
                    <a:pt x="738" y="767"/>
                  </a:lnTo>
                  <a:lnTo>
                    <a:pt x="719" y="764"/>
                  </a:lnTo>
                  <a:lnTo>
                    <a:pt x="699" y="760"/>
                  </a:lnTo>
                  <a:lnTo>
                    <a:pt x="681" y="756"/>
                  </a:lnTo>
                  <a:lnTo>
                    <a:pt x="664" y="749"/>
                  </a:lnTo>
                  <a:lnTo>
                    <a:pt x="646" y="740"/>
                  </a:lnTo>
                  <a:lnTo>
                    <a:pt x="629" y="732"/>
                  </a:lnTo>
                  <a:lnTo>
                    <a:pt x="614" y="721"/>
                  </a:lnTo>
                  <a:lnTo>
                    <a:pt x="600" y="728"/>
                  </a:lnTo>
                  <a:lnTo>
                    <a:pt x="587" y="734"/>
                  </a:lnTo>
                  <a:lnTo>
                    <a:pt x="573" y="739"/>
                  </a:lnTo>
                  <a:lnTo>
                    <a:pt x="559" y="742"/>
                  </a:lnTo>
                  <a:lnTo>
                    <a:pt x="544" y="745"/>
                  </a:lnTo>
                  <a:lnTo>
                    <a:pt x="529" y="747"/>
                  </a:lnTo>
                  <a:lnTo>
                    <a:pt x="514" y="747"/>
                  </a:lnTo>
                  <a:lnTo>
                    <a:pt x="499" y="747"/>
                  </a:lnTo>
                  <a:lnTo>
                    <a:pt x="484" y="746"/>
                  </a:lnTo>
                  <a:lnTo>
                    <a:pt x="469" y="743"/>
                  </a:lnTo>
                  <a:lnTo>
                    <a:pt x="455" y="739"/>
                  </a:lnTo>
                  <a:lnTo>
                    <a:pt x="441" y="734"/>
                  </a:lnTo>
                  <a:lnTo>
                    <a:pt x="429" y="728"/>
                  </a:lnTo>
                  <a:lnTo>
                    <a:pt x="416" y="721"/>
                  </a:lnTo>
                  <a:lnTo>
                    <a:pt x="405" y="714"/>
                  </a:lnTo>
                  <a:lnTo>
                    <a:pt x="394" y="706"/>
                  </a:lnTo>
                  <a:lnTo>
                    <a:pt x="385" y="697"/>
                  </a:lnTo>
                  <a:lnTo>
                    <a:pt x="376" y="687"/>
                  </a:lnTo>
                  <a:lnTo>
                    <a:pt x="368" y="677"/>
                  </a:lnTo>
                  <a:lnTo>
                    <a:pt x="361" y="666"/>
                  </a:lnTo>
                  <a:lnTo>
                    <a:pt x="356" y="654"/>
                  </a:lnTo>
                  <a:lnTo>
                    <a:pt x="352" y="643"/>
                  </a:lnTo>
                  <a:lnTo>
                    <a:pt x="348" y="631"/>
                  </a:lnTo>
                  <a:lnTo>
                    <a:pt x="345" y="617"/>
                  </a:lnTo>
                  <a:lnTo>
                    <a:pt x="348" y="617"/>
                  </a:lnTo>
                  <a:lnTo>
                    <a:pt x="370" y="618"/>
                  </a:lnTo>
                  <a:lnTo>
                    <a:pt x="390" y="615"/>
                  </a:lnTo>
                  <a:lnTo>
                    <a:pt x="411" y="613"/>
                  </a:lnTo>
                  <a:lnTo>
                    <a:pt x="430" y="606"/>
                  </a:lnTo>
                  <a:lnTo>
                    <a:pt x="449" y="599"/>
                  </a:lnTo>
                  <a:lnTo>
                    <a:pt x="469" y="589"/>
                  </a:lnTo>
                  <a:lnTo>
                    <a:pt x="485" y="578"/>
                  </a:lnTo>
                  <a:lnTo>
                    <a:pt x="500" y="566"/>
                  </a:lnTo>
                  <a:lnTo>
                    <a:pt x="496" y="552"/>
                  </a:lnTo>
                  <a:lnTo>
                    <a:pt x="478" y="552"/>
                  </a:lnTo>
                  <a:lnTo>
                    <a:pt x="469" y="552"/>
                  </a:lnTo>
                  <a:lnTo>
                    <a:pt x="462" y="551"/>
                  </a:lnTo>
                  <a:lnTo>
                    <a:pt x="453" y="548"/>
                  </a:lnTo>
                  <a:lnTo>
                    <a:pt x="447" y="544"/>
                  </a:lnTo>
                  <a:lnTo>
                    <a:pt x="440" y="540"/>
                  </a:lnTo>
                  <a:lnTo>
                    <a:pt x="434" y="534"/>
                  </a:lnTo>
                  <a:lnTo>
                    <a:pt x="430" y="529"/>
                  </a:lnTo>
                  <a:lnTo>
                    <a:pt x="425" y="521"/>
                  </a:lnTo>
                  <a:lnTo>
                    <a:pt x="422" y="511"/>
                  </a:lnTo>
                  <a:lnTo>
                    <a:pt x="418" y="501"/>
                  </a:lnTo>
                  <a:lnTo>
                    <a:pt x="416" y="489"/>
                  </a:lnTo>
                  <a:lnTo>
                    <a:pt x="414" y="477"/>
                  </a:lnTo>
                  <a:lnTo>
                    <a:pt x="412" y="445"/>
                  </a:lnTo>
                  <a:lnTo>
                    <a:pt x="412" y="372"/>
                  </a:lnTo>
                  <a:lnTo>
                    <a:pt x="412" y="353"/>
                  </a:lnTo>
                  <a:lnTo>
                    <a:pt x="414" y="335"/>
                  </a:lnTo>
                  <a:lnTo>
                    <a:pt x="419" y="299"/>
                  </a:lnTo>
                  <a:lnTo>
                    <a:pt x="427" y="264"/>
                  </a:lnTo>
                  <a:lnTo>
                    <a:pt x="438" y="231"/>
                  </a:lnTo>
                  <a:lnTo>
                    <a:pt x="452" y="198"/>
                  </a:lnTo>
                  <a:lnTo>
                    <a:pt x="469" y="168"/>
                  </a:lnTo>
                  <a:lnTo>
                    <a:pt x="486" y="139"/>
                  </a:lnTo>
                  <a:lnTo>
                    <a:pt x="508" y="113"/>
                  </a:lnTo>
                  <a:lnTo>
                    <a:pt x="532" y="88"/>
                  </a:lnTo>
                  <a:lnTo>
                    <a:pt x="544" y="77"/>
                  </a:lnTo>
                  <a:lnTo>
                    <a:pt x="558" y="66"/>
                  </a:lnTo>
                  <a:lnTo>
                    <a:pt x="572" y="56"/>
                  </a:lnTo>
                  <a:lnTo>
                    <a:pt x="585" y="47"/>
                  </a:lnTo>
                  <a:lnTo>
                    <a:pt x="600" y="38"/>
                  </a:lnTo>
                  <a:lnTo>
                    <a:pt x="616" y="30"/>
                  </a:lnTo>
                  <a:lnTo>
                    <a:pt x="631" y="23"/>
                  </a:lnTo>
                  <a:lnTo>
                    <a:pt x="646" y="18"/>
                  </a:lnTo>
                  <a:lnTo>
                    <a:pt x="662" y="12"/>
                  </a:lnTo>
                  <a:lnTo>
                    <a:pt x="679" y="8"/>
                  </a:lnTo>
                  <a:lnTo>
                    <a:pt x="697" y="5"/>
                  </a:lnTo>
                  <a:lnTo>
                    <a:pt x="713" y="3"/>
                  </a:lnTo>
                  <a:lnTo>
                    <a:pt x="731" y="1"/>
                  </a:lnTo>
                  <a:lnTo>
                    <a:pt x="749" y="0"/>
                  </a:lnTo>
                  <a:lnTo>
                    <a:pt x="767" y="1"/>
                  </a:lnTo>
                  <a:lnTo>
                    <a:pt x="785" y="3"/>
                  </a:lnTo>
                  <a:lnTo>
                    <a:pt x="801" y="5"/>
                  </a:lnTo>
                  <a:lnTo>
                    <a:pt x="819" y="8"/>
                  </a:lnTo>
                  <a:lnTo>
                    <a:pt x="835" y="12"/>
                  </a:lnTo>
                  <a:lnTo>
                    <a:pt x="852" y="18"/>
                  </a:lnTo>
                  <a:lnTo>
                    <a:pt x="867" y="23"/>
                  </a:lnTo>
                  <a:lnTo>
                    <a:pt x="882" y="30"/>
                  </a:lnTo>
                  <a:lnTo>
                    <a:pt x="897" y="38"/>
                  </a:lnTo>
                  <a:lnTo>
                    <a:pt x="912" y="47"/>
                  </a:lnTo>
                  <a:lnTo>
                    <a:pt x="926" y="56"/>
                  </a:lnTo>
                  <a:lnTo>
                    <a:pt x="940" y="66"/>
                  </a:lnTo>
                  <a:lnTo>
                    <a:pt x="954" y="77"/>
                  </a:lnTo>
                  <a:lnTo>
                    <a:pt x="966" y="88"/>
                  </a:lnTo>
                  <a:lnTo>
                    <a:pt x="989" y="113"/>
                  </a:lnTo>
                  <a:lnTo>
                    <a:pt x="1011" y="139"/>
                  </a:lnTo>
                  <a:lnTo>
                    <a:pt x="1029" y="168"/>
                  </a:lnTo>
                  <a:lnTo>
                    <a:pt x="1046" y="198"/>
                  </a:lnTo>
                  <a:lnTo>
                    <a:pt x="1059" y="231"/>
                  </a:lnTo>
                  <a:lnTo>
                    <a:pt x="1070" y="264"/>
                  </a:lnTo>
                  <a:lnTo>
                    <a:pt x="1079" y="299"/>
                  </a:lnTo>
                  <a:lnTo>
                    <a:pt x="1084" y="335"/>
                  </a:lnTo>
                  <a:lnTo>
                    <a:pt x="1085" y="353"/>
                  </a:lnTo>
                  <a:lnTo>
                    <a:pt x="1085" y="372"/>
                  </a:lnTo>
                  <a:close/>
                  <a:moveTo>
                    <a:pt x="911" y="199"/>
                  </a:moveTo>
                  <a:lnTo>
                    <a:pt x="911" y="199"/>
                  </a:lnTo>
                  <a:lnTo>
                    <a:pt x="925" y="217"/>
                  </a:lnTo>
                  <a:lnTo>
                    <a:pt x="938" y="236"/>
                  </a:lnTo>
                  <a:lnTo>
                    <a:pt x="948" y="257"/>
                  </a:lnTo>
                  <a:lnTo>
                    <a:pt x="958" y="278"/>
                  </a:lnTo>
                  <a:lnTo>
                    <a:pt x="966" y="301"/>
                  </a:lnTo>
                  <a:lnTo>
                    <a:pt x="971" y="326"/>
                  </a:lnTo>
                  <a:lnTo>
                    <a:pt x="974" y="350"/>
                  </a:lnTo>
                  <a:lnTo>
                    <a:pt x="976" y="376"/>
                  </a:lnTo>
                  <a:lnTo>
                    <a:pt x="976" y="463"/>
                  </a:lnTo>
                  <a:lnTo>
                    <a:pt x="974" y="489"/>
                  </a:lnTo>
                  <a:lnTo>
                    <a:pt x="970" y="514"/>
                  </a:lnTo>
                  <a:lnTo>
                    <a:pt x="965" y="539"/>
                  </a:lnTo>
                  <a:lnTo>
                    <a:pt x="958" y="561"/>
                  </a:lnTo>
                  <a:lnTo>
                    <a:pt x="948" y="582"/>
                  </a:lnTo>
                  <a:lnTo>
                    <a:pt x="937" y="603"/>
                  </a:lnTo>
                  <a:lnTo>
                    <a:pt x="925" y="622"/>
                  </a:lnTo>
                  <a:lnTo>
                    <a:pt x="911" y="640"/>
                  </a:lnTo>
                  <a:lnTo>
                    <a:pt x="894" y="657"/>
                  </a:lnTo>
                  <a:lnTo>
                    <a:pt x="878" y="670"/>
                  </a:lnTo>
                  <a:lnTo>
                    <a:pt x="860" y="683"/>
                  </a:lnTo>
                  <a:lnTo>
                    <a:pt x="841" y="692"/>
                  </a:lnTo>
                  <a:lnTo>
                    <a:pt x="822" y="701"/>
                  </a:lnTo>
                  <a:lnTo>
                    <a:pt x="801" y="708"/>
                  </a:lnTo>
                  <a:lnTo>
                    <a:pt x="779" y="710"/>
                  </a:lnTo>
                  <a:lnTo>
                    <a:pt x="757" y="712"/>
                  </a:lnTo>
                  <a:lnTo>
                    <a:pt x="735" y="710"/>
                  </a:lnTo>
                  <a:lnTo>
                    <a:pt x="714" y="708"/>
                  </a:lnTo>
                  <a:lnTo>
                    <a:pt x="694" y="701"/>
                  </a:lnTo>
                  <a:lnTo>
                    <a:pt x="673" y="692"/>
                  </a:lnTo>
                  <a:lnTo>
                    <a:pt x="655" y="683"/>
                  </a:lnTo>
                  <a:lnTo>
                    <a:pt x="636" y="670"/>
                  </a:lnTo>
                  <a:lnTo>
                    <a:pt x="620" y="657"/>
                  </a:lnTo>
                  <a:lnTo>
                    <a:pt x="605" y="640"/>
                  </a:lnTo>
                  <a:lnTo>
                    <a:pt x="591" y="622"/>
                  </a:lnTo>
                  <a:lnTo>
                    <a:pt x="577" y="603"/>
                  </a:lnTo>
                  <a:lnTo>
                    <a:pt x="566" y="582"/>
                  </a:lnTo>
                  <a:lnTo>
                    <a:pt x="556" y="561"/>
                  </a:lnTo>
                  <a:lnTo>
                    <a:pt x="550" y="539"/>
                  </a:lnTo>
                  <a:lnTo>
                    <a:pt x="544" y="514"/>
                  </a:lnTo>
                  <a:lnTo>
                    <a:pt x="540" y="489"/>
                  </a:lnTo>
                  <a:lnTo>
                    <a:pt x="540" y="463"/>
                  </a:lnTo>
                  <a:lnTo>
                    <a:pt x="540" y="434"/>
                  </a:lnTo>
                  <a:lnTo>
                    <a:pt x="569" y="438"/>
                  </a:lnTo>
                  <a:lnTo>
                    <a:pt x="599" y="440"/>
                  </a:lnTo>
                  <a:lnTo>
                    <a:pt x="627" y="438"/>
                  </a:lnTo>
                  <a:lnTo>
                    <a:pt x="654" y="434"/>
                  </a:lnTo>
                  <a:lnTo>
                    <a:pt x="680" y="429"/>
                  </a:lnTo>
                  <a:lnTo>
                    <a:pt x="705" y="422"/>
                  </a:lnTo>
                  <a:lnTo>
                    <a:pt x="730" y="412"/>
                  </a:lnTo>
                  <a:lnTo>
                    <a:pt x="753" y="400"/>
                  </a:lnTo>
                  <a:lnTo>
                    <a:pt x="776" y="386"/>
                  </a:lnTo>
                  <a:lnTo>
                    <a:pt x="797" y="371"/>
                  </a:lnTo>
                  <a:lnTo>
                    <a:pt x="818" y="354"/>
                  </a:lnTo>
                  <a:lnTo>
                    <a:pt x="835" y="337"/>
                  </a:lnTo>
                  <a:lnTo>
                    <a:pt x="852" y="316"/>
                  </a:lnTo>
                  <a:lnTo>
                    <a:pt x="868" y="295"/>
                  </a:lnTo>
                  <a:lnTo>
                    <a:pt x="882" y="273"/>
                  </a:lnTo>
                  <a:lnTo>
                    <a:pt x="893" y="250"/>
                  </a:lnTo>
                  <a:lnTo>
                    <a:pt x="903" y="225"/>
                  </a:lnTo>
                  <a:lnTo>
                    <a:pt x="911" y="199"/>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000000"/>
                </a:solidFill>
              </a:endParaRPr>
            </a:p>
          </p:txBody>
        </p:sp>
        <p:sp>
          <p:nvSpPr>
            <p:cNvPr id="19" name="Freeform 108"/>
            <p:cNvSpPr>
              <a:spLocks noChangeAspect="1" noEditPoints="1"/>
            </p:cNvSpPr>
            <p:nvPr/>
          </p:nvSpPr>
          <p:spPr bwMode="gray">
            <a:xfrm>
              <a:off x="5927790" y="5337664"/>
              <a:ext cx="128183" cy="359148"/>
            </a:xfrm>
            <a:custGeom>
              <a:avLst/>
              <a:gdLst>
                <a:gd name="T0" fmla="*/ 2147483647 w 1700"/>
                <a:gd name="T1" fmla="*/ 2147483647 h 4763"/>
                <a:gd name="T2" fmla="*/ 2147483647 w 1700"/>
                <a:gd name="T3" fmla="*/ 2147483647 h 4763"/>
                <a:gd name="T4" fmla="*/ 2147483647 w 1700"/>
                <a:gd name="T5" fmla="*/ 2147483647 h 4763"/>
                <a:gd name="T6" fmla="*/ 2147483647 w 1700"/>
                <a:gd name="T7" fmla="*/ 2147483647 h 4763"/>
                <a:gd name="T8" fmla="*/ 2147483647 w 1700"/>
                <a:gd name="T9" fmla="*/ 2147483647 h 4763"/>
                <a:gd name="T10" fmla="*/ 2147483647 w 1700"/>
                <a:gd name="T11" fmla="*/ 2147483647 h 4763"/>
                <a:gd name="T12" fmla="*/ 2147483647 w 1700"/>
                <a:gd name="T13" fmla="*/ 2147483647 h 4763"/>
                <a:gd name="T14" fmla="*/ 2147483647 w 1700"/>
                <a:gd name="T15" fmla="*/ 2147483647 h 4763"/>
                <a:gd name="T16" fmla="*/ 2147483647 w 1700"/>
                <a:gd name="T17" fmla="*/ 2147483647 h 4763"/>
                <a:gd name="T18" fmla="*/ 2147483647 w 1700"/>
                <a:gd name="T19" fmla="*/ 2147483647 h 4763"/>
                <a:gd name="T20" fmla="*/ 2147483647 w 1700"/>
                <a:gd name="T21" fmla="*/ 2147483647 h 4763"/>
                <a:gd name="T22" fmla="*/ 2147483647 w 1700"/>
                <a:gd name="T23" fmla="*/ 2147483647 h 4763"/>
                <a:gd name="T24" fmla="*/ 2147483647 w 1700"/>
                <a:gd name="T25" fmla="*/ 2147483647 h 4763"/>
                <a:gd name="T26" fmla="*/ 2147483647 w 1700"/>
                <a:gd name="T27" fmla="*/ 2147483647 h 4763"/>
                <a:gd name="T28" fmla="*/ 2147483647 w 1700"/>
                <a:gd name="T29" fmla="*/ 2147483647 h 4763"/>
                <a:gd name="T30" fmla="*/ 2147483647 w 1700"/>
                <a:gd name="T31" fmla="*/ 2147483647 h 4763"/>
                <a:gd name="T32" fmla="*/ 2147483647 w 1700"/>
                <a:gd name="T33" fmla="*/ 2147483647 h 4763"/>
                <a:gd name="T34" fmla="*/ 2147483647 w 1700"/>
                <a:gd name="T35" fmla="*/ 2147483647 h 4763"/>
                <a:gd name="T36" fmla="*/ 2147483647 w 1700"/>
                <a:gd name="T37" fmla="*/ 2147483647 h 4763"/>
                <a:gd name="T38" fmla="*/ 2147483647 w 1700"/>
                <a:gd name="T39" fmla="*/ 2147483647 h 4763"/>
                <a:gd name="T40" fmla="*/ 2147483647 w 1700"/>
                <a:gd name="T41" fmla="*/ 0 h 4763"/>
                <a:gd name="T42" fmla="*/ 2147483647 w 1700"/>
                <a:gd name="T43" fmla="*/ 2147483647 h 4763"/>
                <a:gd name="T44" fmla="*/ 2147483647 w 1700"/>
                <a:gd name="T45" fmla="*/ 2147483647 h 4763"/>
                <a:gd name="T46" fmla="*/ 2147483647 w 1700"/>
                <a:gd name="T47" fmla="*/ 2147483647 h 4763"/>
                <a:gd name="T48" fmla="*/ 2147483647 w 1700"/>
                <a:gd name="T49" fmla="*/ 2147483647 h 4763"/>
                <a:gd name="T50" fmla="*/ 2147483647 w 1700"/>
                <a:gd name="T51" fmla="*/ 2147483647 h 4763"/>
                <a:gd name="T52" fmla="*/ 2147483647 w 1700"/>
                <a:gd name="T53" fmla="*/ 2147483647 h 4763"/>
                <a:gd name="T54" fmla="*/ 2147483647 w 1700"/>
                <a:gd name="T55" fmla="*/ 2147483647 h 4763"/>
                <a:gd name="T56" fmla="*/ 2147483647 w 1700"/>
                <a:gd name="T57" fmla="*/ 2147483647 h 4763"/>
                <a:gd name="T58" fmla="*/ 2147483647 w 1700"/>
                <a:gd name="T59" fmla="*/ 2147483647 h 4763"/>
                <a:gd name="T60" fmla="*/ 2147483647 w 1700"/>
                <a:gd name="T61" fmla="*/ 2147483647 h 4763"/>
                <a:gd name="T62" fmla="*/ 2147483647 w 1700"/>
                <a:gd name="T63" fmla="*/ 2147483647 h 4763"/>
                <a:gd name="T64" fmla="*/ 2147483647 w 1700"/>
                <a:gd name="T65" fmla="*/ 2147483647 h 4763"/>
                <a:gd name="T66" fmla="*/ 2147483647 w 1700"/>
                <a:gd name="T67" fmla="*/ 2147483647 h 4763"/>
                <a:gd name="T68" fmla="*/ 2147483647 w 1700"/>
                <a:gd name="T69" fmla="*/ 2147483647 h 4763"/>
                <a:gd name="T70" fmla="*/ 2147483647 w 1700"/>
                <a:gd name="T71" fmla="*/ 2147483647 h 4763"/>
                <a:gd name="T72" fmla="*/ 2147483647 w 1700"/>
                <a:gd name="T73" fmla="*/ 2147483647 h 4763"/>
                <a:gd name="T74" fmla="*/ 2147483647 w 1700"/>
                <a:gd name="T75" fmla="*/ 2147483647 h 4763"/>
                <a:gd name="T76" fmla="*/ 2147483647 w 1700"/>
                <a:gd name="T77" fmla="*/ 2147483647 h 4763"/>
                <a:gd name="T78" fmla="*/ 2147483647 w 1700"/>
                <a:gd name="T79" fmla="*/ 2147483647 h 4763"/>
                <a:gd name="T80" fmla="*/ 2147483647 w 1700"/>
                <a:gd name="T81" fmla="*/ 2147483647 h 4763"/>
                <a:gd name="T82" fmla="*/ 2147483647 w 1700"/>
                <a:gd name="T83" fmla="*/ 2147483647 h 4763"/>
                <a:gd name="T84" fmla="*/ 2147483647 w 1700"/>
                <a:gd name="T85" fmla="*/ 2147483647 h 4763"/>
                <a:gd name="T86" fmla="*/ 2147483647 w 1700"/>
                <a:gd name="T87" fmla="*/ 2147483647 h 4763"/>
                <a:gd name="T88" fmla="*/ 2147483647 w 1700"/>
                <a:gd name="T89" fmla="*/ 2147483647 h 4763"/>
                <a:gd name="T90" fmla="*/ 0 w 1700"/>
                <a:gd name="T91" fmla="*/ 2147483647 h 4763"/>
                <a:gd name="T92" fmla="*/ 2147483647 w 1700"/>
                <a:gd name="T93" fmla="*/ 2147483647 h 4763"/>
                <a:gd name="T94" fmla="*/ 2147483647 w 1700"/>
                <a:gd name="T95" fmla="*/ 2147483647 h 4763"/>
                <a:gd name="T96" fmla="*/ 2147483647 w 1700"/>
                <a:gd name="T97" fmla="*/ 2147483647 h 4763"/>
                <a:gd name="T98" fmla="*/ 2147483647 w 1700"/>
                <a:gd name="T99" fmla="*/ 2147483647 h 4763"/>
                <a:gd name="T100" fmla="*/ 2147483647 w 1700"/>
                <a:gd name="T101" fmla="*/ 2147483647 h 4763"/>
                <a:gd name="T102" fmla="*/ 2147483647 w 1700"/>
                <a:gd name="T103" fmla="*/ 2147483647 h 4763"/>
                <a:gd name="T104" fmla="*/ 2147483647 w 1700"/>
                <a:gd name="T105" fmla="*/ 2147483647 h 4763"/>
                <a:gd name="T106" fmla="*/ 2147483647 w 1700"/>
                <a:gd name="T107" fmla="*/ 2147483647 h 4763"/>
                <a:gd name="T108" fmla="*/ 2147483647 w 1700"/>
                <a:gd name="T109" fmla="*/ 2147483647 h 4763"/>
                <a:gd name="T110" fmla="*/ 2147483647 w 1700"/>
                <a:gd name="T111" fmla="*/ 2147483647 h 4763"/>
                <a:gd name="T112" fmla="*/ 2147483647 w 1700"/>
                <a:gd name="T113" fmla="*/ 2147483647 h 4763"/>
                <a:gd name="T114" fmla="*/ 2147483647 w 1700"/>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00"/>
                <a:gd name="T175" fmla="*/ 0 h 4763"/>
                <a:gd name="T176" fmla="*/ 1700 w 1700"/>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00" h="4763">
                  <a:moveTo>
                    <a:pt x="638" y="216"/>
                  </a:moveTo>
                  <a:lnTo>
                    <a:pt x="638" y="216"/>
                  </a:lnTo>
                  <a:lnTo>
                    <a:pt x="634" y="235"/>
                  </a:lnTo>
                  <a:lnTo>
                    <a:pt x="630" y="255"/>
                  </a:lnTo>
                  <a:lnTo>
                    <a:pt x="628" y="276"/>
                  </a:lnTo>
                  <a:lnTo>
                    <a:pt x="628" y="297"/>
                  </a:lnTo>
                  <a:lnTo>
                    <a:pt x="628" y="368"/>
                  </a:lnTo>
                  <a:lnTo>
                    <a:pt x="628" y="393"/>
                  </a:lnTo>
                  <a:lnTo>
                    <a:pt x="632" y="418"/>
                  </a:lnTo>
                  <a:lnTo>
                    <a:pt x="637" y="442"/>
                  </a:lnTo>
                  <a:lnTo>
                    <a:pt x="645" y="465"/>
                  </a:lnTo>
                  <a:lnTo>
                    <a:pt x="653" y="486"/>
                  </a:lnTo>
                  <a:lnTo>
                    <a:pt x="665" y="506"/>
                  </a:lnTo>
                  <a:lnTo>
                    <a:pt x="677" y="525"/>
                  </a:lnTo>
                  <a:lnTo>
                    <a:pt x="691" y="542"/>
                  </a:lnTo>
                  <a:lnTo>
                    <a:pt x="706" y="558"/>
                  </a:lnTo>
                  <a:lnTo>
                    <a:pt x="723" y="571"/>
                  </a:lnTo>
                  <a:lnTo>
                    <a:pt x="741" y="583"/>
                  </a:lnTo>
                  <a:lnTo>
                    <a:pt x="759" y="594"/>
                  </a:lnTo>
                  <a:lnTo>
                    <a:pt x="778" y="602"/>
                  </a:lnTo>
                  <a:lnTo>
                    <a:pt x="799" y="607"/>
                  </a:lnTo>
                  <a:lnTo>
                    <a:pt x="819" y="611"/>
                  </a:lnTo>
                  <a:lnTo>
                    <a:pt x="841" y="612"/>
                  </a:lnTo>
                  <a:lnTo>
                    <a:pt x="863" y="611"/>
                  </a:lnTo>
                  <a:lnTo>
                    <a:pt x="883" y="607"/>
                  </a:lnTo>
                  <a:lnTo>
                    <a:pt x="904" y="602"/>
                  </a:lnTo>
                  <a:lnTo>
                    <a:pt x="922" y="594"/>
                  </a:lnTo>
                  <a:lnTo>
                    <a:pt x="941" y="583"/>
                  </a:lnTo>
                  <a:lnTo>
                    <a:pt x="959" y="571"/>
                  </a:lnTo>
                  <a:lnTo>
                    <a:pt x="975" y="558"/>
                  </a:lnTo>
                  <a:lnTo>
                    <a:pt x="990" y="542"/>
                  </a:lnTo>
                  <a:lnTo>
                    <a:pt x="1005" y="525"/>
                  </a:lnTo>
                  <a:lnTo>
                    <a:pt x="1017" y="506"/>
                  </a:lnTo>
                  <a:lnTo>
                    <a:pt x="1028" y="486"/>
                  </a:lnTo>
                  <a:lnTo>
                    <a:pt x="1036" y="465"/>
                  </a:lnTo>
                  <a:lnTo>
                    <a:pt x="1044" y="442"/>
                  </a:lnTo>
                  <a:lnTo>
                    <a:pt x="1050" y="418"/>
                  </a:lnTo>
                  <a:lnTo>
                    <a:pt x="1054" y="393"/>
                  </a:lnTo>
                  <a:lnTo>
                    <a:pt x="1054" y="368"/>
                  </a:lnTo>
                  <a:lnTo>
                    <a:pt x="1054" y="297"/>
                  </a:lnTo>
                  <a:lnTo>
                    <a:pt x="1054" y="274"/>
                  </a:lnTo>
                  <a:lnTo>
                    <a:pt x="1051" y="251"/>
                  </a:lnTo>
                  <a:lnTo>
                    <a:pt x="1046" y="230"/>
                  </a:lnTo>
                  <a:lnTo>
                    <a:pt x="1040" y="208"/>
                  </a:lnTo>
                  <a:lnTo>
                    <a:pt x="1032" y="198"/>
                  </a:lnTo>
                  <a:lnTo>
                    <a:pt x="1025" y="189"/>
                  </a:lnTo>
                  <a:lnTo>
                    <a:pt x="1017" y="179"/>
                  </a:lnTo>
                  <a:lnTo>
                    <a:pt x="1007" y="171"/>
                  </a:lnTo>
                  <a:lnTo>
                    <a:pt x="997" y="163"/>
                  </a:lnTo>
                  <a:lnTo>
                    <a:pt x="986" y="157"/>
                  </a:lnTo>
                  <a:lnTo>
                    <a:pt x="963" y="145"/>
                  </a:lnTo>
                  <a:lnTo>
                    <a:pt x="952" y="158"/>
                  </a:lnTo>
                  <a:lnTo>
                    <a:pt x="938" y="170"/>
                  </a:lnTo>
                  <a:lnTo>
                    <a:pt x="924" y="181"/>
                  </a:lnTo>
                  <a:lnTo>
                    <a:pt x="908" y="190"/>
                  </a:lnTo>
                  <a:lnTo>
                    <a:pt x="892" y="197"/>
                  </a:lnTo>
                  <a:lnTo>
                    <a:pt x="873" y="202"/>
                  </a:lnTo>
                  <a:lnTo>
                    <a:pt x="855" y="206"/>
                  </a:lnTo>
                  <a:lnTo>
                    <a:pt x="836" y="207"/>
                  </a:lnTo>
                  <a:lnTo>
                    <a:pt x="817" y="206"/>
                  </a:lnTo>
                  <a:lnTo>
                    <a:pt x="800" y="203"/>
                  </a:lnTo>
                  <a:lnTo>
                    <a:pt x="783" y="198"/>
                  </a:lnTo>
                  <a:lnTo>
                    <a:pt x="767" y="191"/>
                  </a:lnTo>
                  <a:lnTo>
                    <a:pt x="751" y="183"/>
                  </a:lnTo>
                  <a:lnTo>
                    <a:pt x="737" y="173"/>
                  </a:lnTo>
                  <a:lnTo>
                    <a:pt x="725" y="162"/>
                  </a:lnTo>
                  <a:lnTo>
                    <a:pt x="713" y="149"/>
                  </a:lnTo>
                  <a:lnTo>
                    <a:pt x="690" y="162"/>
                  </a:lnTo>
                  <a:lnTo>
                    <a:pt x="679" y="169"/>
                  </a:lnTo>
                  <a:lnTo>
                    <a:pt x="670" y="178"/>
                  </a:lnTo>
                  <a:lnTo>
                    <a:pt x="661" y="186"/>
                  </a:lnTo>
                  <a:lnTo>
                    <a:pt x="653" y="195"/>
                  </a:lnTo>
                  <a:lnTo>
                    <a:pt x="645" y="206"/>
                  </a:lnTo>
                  <a:lnTo>
                    <a:pt x="638" y="216"/>
                  </a:lnTo>
                  <a:close/>
                  <a:moveTo>
                    <a:pt x="841" y="0"/>
                  </a:moveTo>
                  <a:lnTo>
                    <a:pt x="841" y="0"/>
                  </a:lnTo>
                  <a:lnTo>
                    <a:pt x="868" y="1"/>
                  </a:lnTo>
                  <a:lnTo>
                    <a:pt x="896" y="5"/>
                  </a:lnTo>
                  <a:lnTo>
                    <a:pt x="921" y="13"/>
                  </a:lnTo>
                  <a:lnTo>
                    <a:pt x="946" y="24"/>
                  </a:lnTo>
                  <a:lnTo>
                    <a:pt x="969" y="36"/>
                  </a:lnTo>
                  <a:lnTo>
                    <a:pt x="991" y="50"/>
                  </a:lnTo>
                  <a:lnTo>
                    <a:pt x="1011" y="68"/>
                  </a:lnTo>
                  <a:lnTo>
                    <a:pt x="1031" y="88"/>
                  </a:lnTo>
                  <a:lnTo>
                    <a:pt x="1047" y="109"/>
                  </a:lnTo>
                  <a:lnTo>
                    <a:pt x="1063" y="131"/>
                  </a:lnTo>
                  <a:lnTo>
                    <a:pt x="1076" y="157"/>
                  </a:lnTo>
                  <a:lnTo>
                    <a:pt x="1087" y="182"/>
                  </a:lnTo>
                  <a:lnTo>
                    <a:pt x="1096" y="210"/>
                  </a:lnTo>
                  <a:lnTo>
                    <a:pt x="1103" y="238"/>
                  </a:lnTo>
                  <a:lnTo>
                    <a:pt x="1107" y="267"/>
                  </a:lnTo>
                  <a:lnTo>
                    <a:pt x="1107" y="296"/>
                  </a:lnTo>
                  <a:lnTo>
                    <a:pt x="1108" y="340"/>
                  </a:lnTo>
                  <a:lnTo>
                    <a:pt x="1108" y="369"/>
                  </a:lnTo>
                  <a:lnTo>
                    <a:pt x="1108" y="380"/>
                  </a:lnTo>
                  <a:lnTo>
                    <a:pt x="1107" y="385"/>
                  </a:lnTo>
                  <a:lnTo>
                    <a:pt x="1105" y="413"/>
                  </a:lnTo>
                  <a:lnTo>
                    <a:pt x="1101" y="441"/>
                  </a:lnTo>
                  <a:lnTo>
                    <a:pt x="1095" y="467"/>
                  </a:lnTo>
                  <a:lnTo>
                    <a:pt x="1086" y="494"/>
                  </a:lnTo>
                  <a:lnTo>
                    <a:pt x="1074" y="518"/>
                  </a:lnTo>
                  <a:lnTo>
                    <a:pt x="1060" y="542"/>
                  </a:lnTo>
                  <a:lnTo>
                    <a:pt x="1044" y="563"/>
                  </a:lnTo>
                  <a:lnTo>
                    <a:pt x="1027" y="583"/>
                  </a:lnTo>
                  <a:lnTo>
                    <a:pt x="1009" y="602"/>
                  </a:lnTo>
                  <a:lnTo>
                    <a:pt x="989" y="617"/>
                  </a:lnTo>
                  <a:lnTo>
                    <a:pt x="966" y="631"/>
                  </a:lnTo>
                  <a:lnTo>
                    <a:pt x="944" y="643"/>
                  </a:lnTo>
                  <a:lnTo>
                    <a:pt x="918" y="652"/>
                  </a:lnTo>
                  <a:lnTo>
                    <a:pt x="893" y="660"/>
                  </a:lnTo>
                  <a:lnTo>
                    <a:pt x="868" y="664"/>
                  </a:lnTo>
                  <a:lnTo>
                    <a:pt x="841" y="665"/>
                  </a:lnTo>
                  <a:lnTo>
                    <a:pt x="814" y="664"/>
                  </a:lnTo>
                  <a:lnTo>
                    <a:pt x="788" y="660"/>
                  </a:lnTo>
                  <a:lnTo>
                    <a:pt x="763" y="652"/>
                  </a:lnTo>
                  <a:lnTo>
                    <a:pt x="738" y="643"/>
                  </a:lnTo>
                  <a:lnTo>
                    <a:pt x="715" y="631"/>
                  </a:lnTo>
                  <a:lnTo>
                    <a:pt x="693" y="617"/>
                  </a:lnTo>
                  <a:lnTo>
                    <a:pt x="673" y="602"/>
                  </a:lnTo>
                  <a:lnTo>
                    <a:pt x="654" y="583"/>
                  </a:lnTo>
                  <a:lnTo>
                    <a:pt x="637" y="563"/>
                  </a:lnTo>
                  <a:lnTo>
                    <a:pt x="621" y="542"/>
                  </a:lnTo>
                  <a:lnTo>
                    <a:pt x="608" y="518"/>
                  </a:lnTo>
                  <a:lnTo>
                    <a:pt x="596" y="494"/>
                  </a:lnTo>
                  <a:lnTo>
                    <a:pt x="587" y="467"/>
                  </a:lnTo>
                  <a:lnTo>
                    <a:pt x="580" y="441"/>
                  </a:lnTo>
                  <a:lnTo>
                    <a:pt x="576" y="413"/>
                  </a:lnTo>
                  <a:lnTo>
                    <a:pt x="575" y="385"/>
                  </a:lnTo>
                  <a:lnTo>
                    <a:pt x="573" y="380"/>
                  </a:lnTo>
                  <a:lnTo>
                    <a:pt x="573" y="369"/>
                  </a:lnTo>
                  <a:lnTo>
                    <a:pt x="573" y="340"/>
                  </a:lnTo>
                  <a:lnTo>
                    <a:pt x="575" y="297"/>
                  </a:lnTo>
                  <a:lnTo>
                    <a:pt x="576" y="267"/>
                  </a:lnTo>
                  <a:lnTo>
                    <a:pt x="579" y="238"/>
                  </a:lnTo>
                  <a:lnTo>
                    <a:pt x="585" y="210"/>
                  </a:lnTo>
                  <a:lnTo>
                    <a:pt x="595" y="182"/>
                  </a:lnTo>
                  <a:lnTo>
                    <a:pt x="605" y="157"/>
                  </a:lnTo>
                  <a:lnTo>
                    <a:pt x="618" y="131"/>
                  </a:lnTo>
                  <a:lnTo>
                    <a:pt x="634" y="109"/>
                  </a:lnTo>
                  <a:lnTo>
                    <a:pt x="650" y="88"/>
                  </a:lnTo>
                  <a:lnTo>
                    <a:pt x="670" y="69"/>
                  </a:lnTo>
                  <a:lnTo>
                    <a:pt x="690" y="50"/>
                  </a:lnTo>
                  <a:lnTo>
                    <a:pt x="713" y="36"/>
                  </a:lnTo>
                  <a:lnTo>
                    <a:pt x="735" y="24"/>
                  </a:lnTo>
                  <a:lnTo>
                    <a:pt x="760" y="13"/>
                  </a:lnTo>
                  <a:lnTo>
                    <a:pt x="786" y="5"/>
                  </a:lnTo>
                  <a:lnTo>
                    <a:pt x="814" y="1"/>
                  </a:lnTo>
                  <a:lnTo>
                    <a:pt x="841" y="0"/>
                  </a:lnTo>
                  <a:close/>
                  <a:moveTo>
                    <a:pt x="1417" y="3144"/>
                  </a:moveTo>
                  <a:lnTo>
                    <a:pt x="1538" y="3046"/>
                  </a:lnTo>
                  <a:lnTo>
                    <a:pt x="1600" y="2791"/>
                  </a:lnTo>
                  <a:lnTo>
                    <a:pt x="1655" y="2791"/>
                  </a:lnTo>
                  <a:lnTo>
                    <a:pt x="1585" y="3077"/>
                  </a:lnTo>
                  <a:lnTo>
                    <a:pt x="1413" y="3215"/>
                  </a:lnTo>
                  <a:lnTo>
                    <a:pt x="1343" y="4763"/>
                  </a:lnTo>
                  <a:lnTo>
                    <a:pt x="897" y="4763"/>
                  </a:lnTo>
                  <a:lnTo>
                    <a:pt x="897" y="2726"/>
                  </a:lnTo>
                  <a:lnTo>
                    <a:pt x="844" y="2726"/>
                  </a:lnTo>
                  <a:lnTo>
                    <a:pt x="844" y="4763"/>
                  </a:lnTo>
                  <a:lnTo>
                    <a:pt x="398" y="4763"/>
                  </a:lnTo>
                  <a:lnTo>
                    <a:pt x="326" y="3217"/>
                  </a:lnTo>
                  <a:lnTo>
                    <a:pt x="153" y="3077"/>
                  </a:lnTo>
                  <a:lnTo>
                    <a:pt x="82" y="2791"/>
                  </a:lnTo>
                  <a:lnTo>
                    <a:pt x="137" y="2791"/>
                  </a:lnTo>
                  <a:lnTo>
                    <a:pt x="199" y="3046"/>
                  </a:lnTo>
                  <a:lnTo>
                    <a:pt x="322" y="3147"/>
                  </a:lnTo>
                  <a:lnTo>
                    <a:pt x="304" y="2738"/>
                  </a:lnTo>
                  <a:lnTo>
                    <a:pt x="300" y="2738"/>
                  </a:lnTo>
                  <a:lnTo>
                    <a:pt x="0" y="2738"/>
                  </a:lnTo>
                  <a:lnTo>
                    <a:pt x="0" y="1086"/>
                  </a:lnTo>
                  <a:lnTo>
                    <a:pt x="1" y="1065"/>
                  </a:lnTo>
                  <a:lnTo>
                    <a:pt x="4" y="1045"/>
                  </a:lnTo>
                  <a:lnTo>
                    <a:pt x="9" y="1028"/>
                  </a:lnTo>
                  <a:lnTo>
                    <a:pt x="16" y="1012"/>
                  </a:lnTo>
                  <a:lnTo>
                    <a:pt x="25" y="997"/>
                  </a:lnTo>
                  <a:lnTo>
                    <a:pt x="35" y="983"/>
                  </a:lnTo>
                  <a:lnTo>
                    <a:pt x="46" y="971"/>
                  </a:lnTo>
                  <a:lnTo>
                    <a:pt x="60" y="959"/>
                  </a:lnTo>
                  <a:lnTo>
                    <a:pt x="74" y="948"/>
                  </a:lnTo>
                  <a:lnTo>
                    <a:pt x="89" y="939"/>
                  </a:lnTo>
                  <a:lnTo>
                    <a:pt x="106" y="929"/>
                  </a:lnTo>
                  <a:lnTo>
                    <a:pt x="123" y="920"/>
                  </a:lnTo>
                  <a:lnTo>
                    <a:pt x="162" y="904"/>
                  </a:lnTo>
                  <a:lnTo>
                    <a:pt x="202" y="890"/>
                  </a:lnTo>
                  <a:lnTo>
                    <a:pt x="606" y="742"/>
                  </a:lnTo>
                  <a:lnTo>
                    <a:pt x="738" y="1522"/>
                  </a:lnTo>
                  <a:lnTo>
                    <a:pt x="806" y="916"/>
                  </a:lnTo>
                  <a:lnTo>
                    <a:pt x="790" y="908"/>
                  </a:lnTo>
                  <a:lnTo>
                    <a:pt x="774" y="898"/>
                  </a:lnTo>
                  <a:lnTo>
                    <a:pt x="760" y="886"/>
                  </a:lnTo>
                  <a:lnTo>
                    <a:pt x="750" y="871"/>
                  </a:lnTo>
                  <a:lnTo>
                    <a:pt x="851" y="775"/>
                  </a:lnTo>
                  <a:lnTo>
                    <a:pt x="952" y="871"/>
                  </a:lnTo>
                  <a:lnTo>
                    <a:pt x="940" y="886"/>
                  </a:lnTo>
                  <a:lnTo>
                    <a:pt x="926" y="898"/>
                  </a:lnTo>
                  <a:lnTo>
                    <a:pt x="912" y="908"/>
                  </a:lnTo>
                  <a:lnTo>
                    <a:pt x="894" y="916"/>
                  </a:lnTo>
                  <a:lnTo>
                    <a:pt x="962" y="1522"/>
                  </a:lnTo>
                  <a:lnTo>
                    <a:pt x="1095" y="742"/>
                  </a:lnTo>
                  <a:lnTo>
                    <a:pt x="1500" y="890"/>
                  </a:lnTo>
                  <a:lnTo>
                    <a:pt x="1539" y="904"/>
                  </a:lnTo>
                  <a:lnTo>
                    <a:pt x="1577" y="920"/>
                  </a:lnTo>
                  <a:lnTo>
                    <a:pt x="1594" y="929"/>
                  </a:lnTo>
                  <a:lnTo>
                    <a:pt x="1611" y="939"/>
                  </a:lnTo>
                  <a:lnTo>
                    <a:pt x="1627" y="948"/>
                  </a:lnTo>
                  <a:lnTo>
                    <a:pt x="1642" y="959"/>
                  </a:lnTo>
                  <a:lnTo>
                    <a:pt x="1654" y="971"/>
                  </a:lnTo>
                  <a:lnTo>
                    <a:pt x="1665" y="983"/>
                  </a:lnTo>
                  <a:lnTo>
                    <a:pt x="1676" y="997"/>
                  </a:lnTo>
                  <a:lnTo>
                    <a:pt x="1684" y="1012"/>
                  </a:lnTo>
                  <a:lnTo>
                    <a:pt x="1691" y="1028"/>
                  </a:lnTo>
                  <a:lnTo>
                    <a:pt x="1696" y="1045"/>
                  </a:lnTo>
                  <a:lnTo>
                    <a:pt x="1699" y="1065"/>
                  </a:lnTo>
                  <a:lnTo>
                    <a:pt x="1700" y="1086"/>
                  </a:lnTo>
                  <a:lnTo>
                    <a:pt x="1700" y="2738"/>
                  </a:lnTo>
                  <a:lnTo>
                    <a:pt x="1436" y="2738"/>
                  </a:lnTo>
                  <a:lnTo>
                    <a:pt x="1417" y="3144"/>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000000"/>
                </a:solidFill>
              </a:endParaRPr>
            </a:p>
          </p:txBody>
        </p:sp>
      </p:grpSp>
      <p:sp>
        <p:nvSpPr>
          <p:cNvPr id="20" name="Rectangle 19"/>
          <p:cNvSpPr/>
          <p:nvPr/>
        </p:nvSpPr>
        <p:spPr>
          <a:xfrm>
            <a:off x="4543144" y="2674125"/>
            <a:ext cx="2114893" cy="453050"/>
          </a:xfrm>
          <a:prstGeom prst="rect">
            <a:avLst/>
          </a:prstGeom>
        </p:spPr>
        <p:txBody>
          <a:bodyPr wrap="square" lIns="82909" tIns="41454" rIns="82909" bIns="41454" anchor="ctr">
            <a:spAutoFit/>
          </a:bodyPr>
          <a:lstStyle/>
          <a:p>
            <a:pPr marL="0" lvl="1" algn="just" defTabSz="945204" eaLnBrk="0" fontAlgn="base" hangingPunct="0">
              <a:spcBef>
                <a:spcPct val="0"/>
              </a:spcBef>
              <a:spcAft>
                <a:spcPct val="0"/>
              </a:spcAft>
              <a:buClr>
                <a:srgbClr val="FFE600"/>
              </a:buClr>
              <a:buSzPct val="80000"/>
            </a:pPr>
            <a:r>
              <a:rPr lang="en-US" sz="1200" b="1" dirty="0">
                <a:solidFill>
                  <a:srgbClr val="FFE600"/>
                </a:solidFill>
                <a:cs typeface="Arial"/>
              </a:rPr>
              <a:t>250,000</a:t>
            </a:r>
            <a:endParaRPr lang="en-US" sz="1200" dirty="0">
              <a:solidFill>
                <a:srgbClr val="FFE600"/>
              </a:solidFill>
              <a:cs typeface="Arial"/>
            </a:endParaRPr>
          </a:p>
          <a:p>
            <a:pPr marL="0" lvl="1" algn="just" defTabSz="945204" eaLnBrk="0" fontAlgn="base" hangingPunct="0">
              <a:spcBef>
                <a:spcPct val="0"/>
              </a:spcBef>
              <a:spcAft>
                <a:spcPct val="0"/>
              </a:spcAft>
              <a:buClr>
                <a:srgbClr val="FFE600"/>
              </a:buClr>
              <a:buSzPct val="80000"/>
            </a:pPr>
            <a:r>
              <a:rPr lang="en-US" sz="1200" kern="0" dirty="0" err="1">
                <a:solidFill>
                  <a:schemeClr val="bg1"/>
                </a:solidFill>
                <a:cs typeface="Arial"/>
              </a:rPr>
              <a:t>Angestellte</a:t>
            </a:r>
            <a:r>
              <a:rPr lang="en-US" sz="1200" kern="0" dirty="0">
                <a:solidFill>
                  <a:schemeClr val="bg1"/>
                </a:solidFill>
                <a:cs typeface="Arial"/>
              </a:rPr>
              <a:t> global </a:t>
            </a:r>
          </a:p>
        </p:txBody>
      </p:sp>
      <p:pic>
        <p:nvPicPr>
          <p:cNvPr id="21" name="Picture 2"/>
          <p:cNvPicPr>
            <a:picLocks noChangeAspect="1" noChangeArrowheads="1"/>
          </p:cNvPicPr>
          <p:nvPr/>
        </p:nvPicPr>
        <p:blipFill>
          <a:blip r:embed="rId3" cstate="print">
            <a:clrChange>
              <a:clrFrom>
                <a:srgbClr val="FFFFFF"/>
              </a:clrFrom>
              <a:clrTo>
                <a:srgbClr val="FFFFFF">
                  <a:alpha val="0"/>
                </a:srgbClr>
              </a:clrTo>
            </a:clrChange>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951074" y="3328890"/>
            <a:ext cx="376913" cy="3849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ectangle 21"/>
          <p:cNvSpPr/>
          <p:nvPr/>
        </p:nvSpPr>
        <p:spPr>
          <a:xfrm>
            <a:off x="4543144" y="3291757"/>
            <a:ext cx="2114893" cy="453050"/>
          </a:xfrm>
          <a:prstGeom prst="rect">
            <a:avLst/>
          </a:prstGeom>
        </p:spPr>
        <p:txBody>
          <a:bodyPr wrap="square" lIns="82909" tIns="41454" rIns="82909" bIns="41454" anchor="ctr">
            <a:spAutoFit/>
          </a:bodyPr>
          <a:lstStyle/>
          <a:p>
            <a:pPr marL="0" lvl="1" algn="just" defTabSz="945204" eaLnBrk="0" fontAlgn="base" hangingPunct="0">
              <a:spcBef>
                <a:spcPct val="0"/>
              </a:spcBef>
              <a:spcAft>
                <a:spcPct val="0"/>
              </a:spcAft>
              <a:buClr>
                <a:srgbClr val="FFE600"/>
              </a:buClr>
              <a:buSzPct val="80000"/>
            </a:pPr>
            <a:r>
              <a:rPr lang="en-US" sz="1200" b="1" dirty="0">
                <a:solidFill>
                  <a:srgbClr val="FFE600"/>
                </a:solidFill>
                <a:cs typeface="Arial"/>
              </a:rPr>
              <a:t>USD 31.4 </a:t>
            </a:r>
            <a:r>
              <a:rPr lang="en-US" sz="1200" b="1" dirty="0" err="1">
                <a:solidFill>
                  <a:srgbClr val="FFE600"/>
                </a:solidFill>
                <a:cs typeface="Arial"/>
              </a:rPr>
              <a:t>Milliarden</a:t>
            </a:r>
            <a:endParaRPr lang="en-US" sz="1200" dirty="0">
              <a:solidFill>
                <a:srgbClr val="FFE600"/>
              </a:solidFill>
              <a:cs typeface="Arial"/>
            </a:endParaRPr>
          </a:p>
          <a:p>
            <a:pPr marL="0" lvl="1" algn="just" defTabSz="945204" eaLnBrk="0" fontAlgn="base" hangingPunct="0">
              <a:spcBef>
                <a:spcPct val="0"/>
              </a:spcBef>
              <a:spcAft>
                <a:spcPct val="0"/>
              </a:spcAft>
              <a:buClr>
                <a:srgbClr val="FFE600"/>
              </a:buClr>
              <a:buSzPct val="80000"/>
            </a:pPr>
            <a:r>
              <a:rPr lang="en-US" sz="1200" kern="0" dirty="0" err="1">
                <a:solidFill>
                  <a:schemeClr val="bg1"/>
                </a:solidFill>
                <a:cs typeface="Arial"/>
              </a:rPr>
              <a:t>Globaler</a:t>
            </a:r>
            <a:r>
              <a:rPr lang="en-US" sz="1200" kern="0" dirty="0">
                <a:solidFill>
                  <a:schemeClr val="bg1"/>
                </a:solidFill>
                <a:cs typeface="Arial"/>
              </a:rPr>
              <a:t> </a:t>
            </a:r>
            <a:r>
              <a:rPr lang="en-US" sz="1200" kern="0" dirty="0" err="1">
                <a:solidFill>
                  <a:schemeClr val="bg1"/>
                </a:solidFill>
                <a:cs typeface="Arial"/>
              </a:rPr>
              <a:t>Umsatz</a:t>
            </a:r>
            <a:r>
              <a:rPr lang="en-US" sz="1200" kern="0" dirty="0">
                <a:solidFill>
                  <a:schemeClr val="bg1"/>
                </a:solidFill>
                <a:cs typeface="Arial"/>
              </a:rPr>
              <a:t> in FY2017</a:t>
            </a:r>
          </a:p>
        </p:txBody>
      </p:sp>
      <p:grpSp>
        <p:nvGrpSpPr>
          <p:cNvPr id="23" name="Gruppieren 41"/>
          <p:cNvGrpSpPr>
            <a:grpSpLocks noChangeAspect="1"/>
          </p:cNvGrpSpPr>
          <p:nvPr/>
        </p:nvGrpSpPr>
        <p:grpSpPr bwMode="auto">
          <a:xfrm>
            <a:off x="4044515" y="4627232"/>
            <a:ext cx="60638" cy="359148"/>
            <a:chOff x="6628076" y="2836361"/>
            <a:chExt cx="128183" cy="764053"/>
          </a:xfrm>
          <a:solidFill>
            <a:schemeClr val="bg1"/>
          </a:solidFill>
        </p:grpSpPr>
        <p:sp>
          <p:nvSpPr>
            <p:cNvPr id="24" name="Freeform 108"/>
            <p:cNvSpPr>
              <a:spLocks noChangeAspect="1" noEditPoints="1"/>
            </p:cNvSpPr>
            <p:nvPr/>
          </p:nvSpPr>
          <p:spPr bwMode="auto">
            <a:xfrm>
              <a:off x="6628076" y="3241266"/>
              <a:ext cx="128183" cy="359148"/>
            </a:xfrm>
            <a:custGeom>
              <a:avLst/>
              <a:gdLst>
                <a:gd name="T0" fmla="*/ 2147483647 w 1700"/>
                <a:gd name="T1" fmla="*/ 2147483647 h 4763"/>
                <a:gd name="T2" fmla="*/ 2147483647 w 1700"/>
                <a:gd name="T3" fmla="*/ 2147483647 h 4763"/>
                <a:gd name="T4" fmla="*/ 2147483647 w 1700"/>
                <a:gd name="T5" fmla="*/ 2147483647 h 4763"/>
                <a:gd name="T6" fmla="*/ 2147483647 w 1700"/>
                <a:gd name="T7" fmla="*/ 2147483647 h 4763"/>
                <a:gd name="T8" fmla="*/ 2147483647 w 1700"/>
                <a:gd name="T9" fmla="*/ 2147483647 h 4763"/>
                <a:gd name="T10" fmla="*/ 2147483647 w 1700"/>
                <a:gd name="T11" fmla="*/ 2147483647 h 4763"/>
                <a:gd name="T12" fmla="*/ 2147483647 w 1700"/>
                <a:gd name="T13" fmla="*/ 2147483647 h 4763"/>
                <a:gd name="T14" fmla="*/ 2147483647 w 1700"/>
                <a:gd name="T15" fmla="*/ 2147483647 h 4763"/>
                <a:gd name="T16" fmla="*/ 2147483647 w 1700"/>
                <a:gd name="T17" fmla="*/ 2147483647 h 4763"/>
                <a:gd name="T18" fmla="*/ 2147483647 w 1700"/>
                <a:gd name="T19" fmla="*/ 2147483647 h 4763"/>
                <a:gd name="T20" fmla="*/ 2147483647 w 1700"/>
                <a:gd name="T21" fmla="*/ 2147483647 h 4763"/>
                <a:gd name="T22" fmla="*/ 2147483647 w 1700"/>
                <a:gd name="T23" fmla="*/ 2147483647 h 4763"/>
                <a:gd name="T24" fmla="*/ 2147483647 w 1700"/>
                <a:gd name="T25" fmla="*/ 2147483647 h 4763"/>
                <a:gd name="T26" fmla="*/ 2147483647 w 1700"/>
                <a:gd name="T27" fmla="*/ 2147483647 h 4763"/>
                <a:gd name="T28" fmla="*/ 2147483647 w 1700"/>
                <a:gd name="T29" fmla="*/ 2147483647 h 4763"/>
                <a:gd name="T30" fmla="*/ 2147483647 w 1700"/>
                <a:gd name="T31" fmla="*/ 2147483647 h 4763"/>
                <a:gd name="T32" fmla="*/ 2147483647 w 1700"/>
                <a:gd name="T33" fmla="*/ 2147483647 h 4763"/>
                <a:gd name="T34" fmla="*/ 2147483647 w 1700"/>
                <a:gd name="T35" fmla="*/ 2147483647 h 4763"/>
                <a:gd name="T36" fmla="*/ 2147483647 w 1700"/>
                <a:gd name="T37" fmla="*/ 2147483647 h 4763"/>
                <a:gd name="T38" fmla="*/ 2147483647 w 1700"/>
                <a:gd name="T39" fmla="*/ 2147483647 h 4763"/>
                <a:gd name="T40" fmla="*/ 2147483647 w 1700"/>
                <a:gd name="T41" fmla="*/ 0 h 4763"/>
                <a:gd name="T42" fmla="*/ 2147483647 w 1700"/>
                <a:gd name="T43" fmla="*/ 2147483647 h 4763"/>
                <a:gd name="T44" fmla="*/ 2147483647 w 1700"/>
                <a:gd name="T45" fmla="*/ 2147483647 h 4763"/>
                <a:gd name="T46" fmla="*/ 2147483647 w 1700"/>
                <a:gd name="T47" fmla="*/ 2147483647 h 4763"/>
                <a:gd name="T48" fmla="*/ 2147483647 w 1700"/>
                <a:gd name="T49" fmla="*/ 2147483647 h 4763"/>
                <a:gd name="T50" fmla="*/ 2147483647 w 1700"/>
                <a:gd name="T51" fmla="*/ 2147483647 h 4763"/>
                <a:gd name="T52" fmla="*/ 2147483647 w 1700"/>
                <a:gd name="T53" fmla="*/ 2147483647 h 4763"/>
                <a:gd name="T54" fmla="*/ 2147483647 w 1700"/>
                <a:gd name="T55" fmla="*/ 2147483647 h 4763"/>
                <a:gd name="T56" fmla="*/ 2147483647 w 1700"/>
                <a:gd name="T57" fmla="*/ 2147483647 h 4763"/>
                <a:gd name="T58" fmla="*/ 2147483647 w 1700"/>
                <a:gd name="T59" fmla="*/ 2147483647 h 4763"/>
                <a:gd name="T60" fmla="*/ 2147483647 w 1700"/>
                <a:gd name="T61" fmla="*/ 2147483647 h 4763"/>
                <a:gd name="T62" fmla="*/ 2147483647 w 1700"/>
                <a:gd name="T63" fmla="*/ 2147483647 h 4763"/>
                <a:gd name="T64" fmla="*/ 2147483647 w 1700"/>
                <a:gd name="T65" fmla="*/ 2147483647 h 4763"/>
                <a:gd name="T66" fmla="*/ 2147483647 w 1700"/>
                <a:gd name="T67" fmla="*/ 2147483647 h 4763"/>
                <a:gd name="T68" fmla="*/ 2147483647 w 1700"/>
                <a:gd name="T69" fmla="*/ 2147483647 h 4763"/>
                <a:gd name="T70" fmla="*/ 2147483647 w 1700"/>
                <a:gd name="T71" fmla="*/ 2147483647 h 4763"/>
                <a:gd name="T72" fmla="*/ 2147483647 w 1700"/>
                <a:gd name="T73" fmla="*/ 2147483647 h 4763"/>
                <a:gd name="T74" fmla="*/ 2147483647 w 1700"/>
                <a:gd name="T75" fmla="*/ 2147483647 h 4763"/>
                <a:gd name="T76" fmla="*/ 2147483647 w 1700"/>
                <a:gd name="T77" fmla="*/ 2147483647 h 4763"/>
                <a:gd name="T78" fmla="*/ 2147483647 w 1700"/>
                <a:gd name="T79" fmla="*/ 2147483647 h 4763"/>
                <a:gd name="T80" fmla="*/ 2147483647 w 1700"/>
                <a:gd name="T81" fmla="*/ 2147483647 h 4763"/>
                <a:gd name="T82" fmla="*/ 2147483647 w 1700"/>
                <a:gd name="T83" fmla="*/ 2147483647 h 4763"/>
                <a:gd name="T84" fmla="*/ 2147483647 w 1700"/>
                <a:gd name="T85" fmla="*/ 2147483647 h 4763"/>
                <a:gd name="T86" fmla="*/ 2147483647 w 1700"/>
                <a:gd name="T87" fmla="*/ 2147483647 h 4763"/>
                <a:gd name="T88" fmla="*/ 2147483647 w 1700"/>
                <a:gd name="T89" fmla="*/ 2147483647 h 4763"/>
                <a:gd name="T90" fmla="*/ 0 w 1700"/>
                <a:gd name="T91" fmla="*/ 2147483647 h 4763"/>
                <a:gd name="T92" fmla="*/ 2147483647 w 1700"/>
                <a:gd name="T93" fmla="*/ 2147483647 h 4763"/>
                <a:gd name="T94" fmla="*/ 2147483647 w 1700"/>
                <a:gd name="T95" fmla="*/ 2147483647 h 4763"/>
                <a:gd name="T96" fmla="*/ 2147483647 w 1700"/>
                <a:gd name="T97" fmla="*/ 2147483647 h 4763"/>
                <a:gd name="T98" fmla="*/ 2147483647 w 1700"/>
                <a:gd name="T99" fmla="*/ 2147483647 h 4763"/>
                <a:gd name="T100" fmla="*/ 2147483647 w 1700"/>
                <a:gd name="T101" fmla="*/ 2147483647 h 4763"/>
                <a:gd name="T102" fmla="*/ 2147483647 w 1700"/>
                <a:gd name="T103" fmla="*/ 2147483647 h 4763"/>
                <a:gd name="T104" fmla="*/ 2147483647 w 1700"/>
                <a:gd name="T105" fmla="*/ 2147483647 h 4763"/>
                <a:gd name="T106" fmla="*/ 2147483647 w 1700"/>
                <a:gd name="T107" fmla="*/ 2147483647 h 4763"/>
                <a:gd name="T108" fmla="*/ 2147483647 w 1700"/>
                <a:gd name="T109" fmla="*/ 2147483647 h 4763"/>
                <a:gd name="T110" fmla="*/ 2147483647 w 1700"/>
                <a:gd name="T111" fmla="*/ 2147483647 h 4763"/>
                <a:gd name="T112" fmla="*/ 2147483647 w 1700"/>
                <a:gd name="T113" fmla="*/ 2147483647 h 4763"/>
                <a:gd name="T114" fmla="*/ 2147483647 w 1700"/>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00"/>
                <a:gd name="T175" fmla="*/ 0 h 4763"/>
                <a:gd name="T176" fmla="*/ 1700 w 1700"/>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00" h="4763">
                  <a:moveTo>
                    <a:pt x="638" y="216"/>
                  </a:moveTo>
                  <a:lnTo>
                    <a:pt x="638" y="216"/>
                  </a:lnTo>
                  <a:lnTo>
                    <a:pt x="634" y="235"/>
                  </a:lnTo>
                  <a:lnTo>
                    <a:pt x="630" y="255"/>
                  </a:lnTo>
                  <a:lnTo>
                    <a:pt x="628" y="276"/>
                  </a:lnTo>
                  <a:lnTo>
                    <a:pt x="628" y="297"/>
                  </a:lnTo>
                  <a:lnTo>
                    <a:pt x="628" y="368"/>
                  </a:lnTo>
                  <a:lnTo>
                    <a:pt x="628" y="393"/>
                  </a:lnTo>
                  <a:lnTo>
                    <a:pt x="632" y="418"/>
                  </a:lnTo>
                  <a:lnTo>
                    <a:pt x="637" y="442"/>
                  </a:lnTo>
                  <a:lnTo>
                    <a:pt x="645" y="465"/>
                  </a:lnTo>
                  <a:lnTo>
                    <a:pt x="653" y="486"/>
                  </a:lnTo>
                  <a:lnTo>
                    <a:pt x="665" y="506"/>
                  </a:lnTo>
                  <a:lnTo>
                    <a:pt x="677" y="525"/>
                  </a:lnTo>
                  <a:lnTo>
                    <a:pt x="691" y="542"/>
                  </a:lnTo>
                  <a:lnTo>
                    <a:pt x="706" y="558"/>
                  </a:lnTo>
                  <a:lnTo>
                    <a:pt x="723" y="571"/>
                  </a:lnTo>
                  <a:lnTo>
                    <a:pt x="741" y="583"/>
                  </a:lnTo>
                  <a:lnTo>
                    <a:pt x="759" y="594"/>
                  </a:lnTo>
                  <a:lnTo>
                    <a:pt x="778" y="602"/>
                  </a:lnTo>
                  <a:lnTo>
                    <a:pt x="799" y="607"/>
                  </a:lnTo>
                  <a:lnTo>
                    <a:pt x="819" y="611"/>
                  </a:lnTo>
                  <a:lnTo>
                    <a:pt x="841" y="612"/>
                  </a:lnTo>
                  <a:lnTo>
                    <a:pt x="863" y="611"/>
                  </a:lnTo>
                  <a:lnTo>
                    <a:pt x="883" y="607"/>
                  </a:lnTo>
                  <a:lnTo>
                    <a:pt x="904" y="602"/>
                  </a:lnTo>
                  <a:lnTo>
                    <a:pt x="922" y="594"/>
                  </a:lnTo>
                  <a:lnTo>
                    <a:pt x="941" y="583"/>
                  </a:lnTo>
                  <a:lnTo>
                    <a:pt x="959" y="571"/>
                  </a:lnTo>
                  <a:lnTo>
                    <a:pt x="975" y="558"/>
                  </a:lnTo>
                  <a:lnTo>
                    <a:pt x="990" y="542"/>
                  </a:lnTo>
                  <a:lnTo>
                    <a:pt x="1005" y="525"/>
                  </a:lnTo>
                  <a:lnTo>
                    <a:pt x="1017" y="506"/>
                  </a:lnTo>
                  <a:lnTo>
                    <a:pt x="1028" y="486"/>
                  </a:lnTo>
                  <a:lnTo>
                    <a:pt x="1036" y="465"/>
                  </a:lnTo>
                  <a:lnTo>
                    <a:pt x="1044" y="442"/>
                  </a:lnTo>
                  <a:lnTo>
                    <a:pt x="1050" y="418"/>
                  </a:lnTo>
                  <a:lnTo>
                    <a:pt x="1054" y="393"/>
                  </a:lnTo>
                  <a:lnTo>
                    <a:pt x="1054" y="368"/>
                  </a:lnTo>
                  <a:lnTo>
                    <a:pt x="1054" y="297"/>
                  </a:lnTo>
                  <a:lnTo>
                    <a:pt x="1054" y="274"/>
                  </a:lnTo>
                  <a:lnTo>
                    <a:pt x="1051" y="251"/>
                  </a:lnTo>
                  <a:lnTo>
                    <a:pt x="1046" y="230"/>
                  </a:lnTo>
                  <a:lnTo>
                    <a:pt x="1040" y="208"/>
                  </a:lnTo>
                  <a:lnTo>
                    <a:pt x="1032" y="198"/>
                  </a:lnTo>
                  <a:lnTo>
                    <a:pt x="1025" y="189"/>
                  </a:lnTo>
                  <a:lnTo>
                    <a:pt x="1017" y="179"/>
                  </a:lnTo>
                  <a:lnTo>
                    <a:pt x="1007" y="171"/>
                  </a:lnTo>
                  <a:lnTo>
                    <a:pt x="997" y="163"/>
                  </a:lnTo>
                  <a:lnTo>
                    <a:pt x="986" y="157"/>
                  </a:lnTo>
                  <a:lnTo>
                    <a:pt x="963" y="145"/>
                  </a:lnTo>
                  <a:lnTo>
                    <a:pt x="952" y="158"/>
                  </a:lnTo>
                  <a:lnTo>
                    <a:pt x="938" y="170"/>
                  </a:lnTo>
                  <a:lnTo>
                    <a:pt x="924" y="181"/>
                  </a:lnTo>
                  <a:lnTo>
                    <a:pt x="908" y="190"/>
                  </a:lnTo>
                  <a:lnTo>
                    <a:pt x="892" y="197"/>
                  </a:lnTo>
                  <a:lnTo>
                    <a:pt x="873" y="202"/>
                  </a:lnTo>
                  <a:lnTo>
                    <a:pt x="855" y="206"/>
                  </a:lnTo>
                  <a:lnTo>
                    <a:pt x="836" y="207"/>
                  </a:lnTo>
                  <a:lnTo>
                    <a:pt x="817" y="206"/>
                  </a:lnTo>
                  <a:lnTo>
                    <a:pt x="800" y="203"/>
                  </a:lnTo>
                  <a:lnTo>
                    <a:pt x="783" y="198"/>
                  </a:lnTo>
                  <a:lnTo>
                    <a:pt x="767" y="191"/>
                  </a:lnTo>
                  <a:lnTo>
                    <a:pt x="751" y="183"/>
                  </a:lnTo>
                  <a:lnTo>
                    <a:pt x="737" y="173"/>
                  </a:lnTo>
                  <a:lnTo>
                    <a:pt x="725" y="162"/>
                  </a:lnTo>
                  <a:lnTo>
                    <a:pt x="713" y="149"/>
                  </a:lnTo>
                  <a:lnTo>
                    <a:pt x="690" y="162"/>
                  </a:lnTo>
                  <a:lnTo>
                    <a:pt x="679" y="169"/>
                  </a:lnTo>
                  <a:lnTo>
                    <a:pt x="670" y="178"/>
                  </a:lnTo>
                  <a:lnTo>
                    <a:pt x="661" y="186"/>
                  </a:lnTo>
                  <a:lnTo>
                    <a:pt x="653" y="195"/>
                  </a:lnTo>
                  <a:lnTo>
                    <a:pt x="645" y="206"/>
                  </a:lnTo>
                  <a:lnTo>
                    <a:pt x="638" y="216"/>
                  </a:lnTo>
                  <a:close/>
                  <a:moveTo>
                    <a:pt x="841" y="0"/>
                  </a:moveTo>
                  <a:lnTo>
                    <a:pt x="841" y="0"/>
                  </a:lnTo>
                  <a:lnTo>
                    <a:pt x="868" y="1"/>
                  </a:lnTo>
                  <a:lnTo>
                    <a:pt x="896" y="5"/>
                  </a:lnTo>
                  <a:lnTo>
                    <a:pt x="921" y="13"/>
                  </a:lnTo>
                  <a:lnTo>
                    <a:pt x="946" y="24"/>
                  </a:lnTo>
                  <a:lnTo>
                    <a:pt x="969" y="36"/>
                  </a:lnTo>
                  <a:lnTo>
                    <a:pt x="991" y="50"/>
                  </a:lnTo>
                  <a:lnTo>
                    <a:pt x="1011" y="68"/>
                  </a:lnTo>
                  <a:lnTo>
                    <a:pt x="1031" y="88"/>
                  </a:lnTo>
                  <a:lnTo>
                    <a:pt x="1047" y="109"/>
                  </a:lnTo>
                  <a:lnTo>
                    <a:pt x="1063" y="131"/>
                  </a:lnTo>
                  <a:lnTo>
                    <a:pt x="1076" y="157"/>
                  </a:lnTo>
                  <a:lnTo>
                    <a:pt x="1087" y="182"/>
                  </a:lnTo>
                  <a:lnTo>
                    <a:pt x="1096" y="210"/>
                  </a:lnTo>
                  <a:lnTo>
                    <a:pt x="1103" y="238"/>
                  </a:lnTo>
                  <a:lnTo>
                    <a:pt x="1107" y="267"/>
                  </a:lnTo>
                  <a:lnTo>
                    <a:pt x="1107" y="296"/>
                  </a:lnTo>
                  <a:lnTo>
                    <a:pt x="1108" y="340"/>
                  </a:lnTo>
                  <a:lnTo>
                    <a:pt x="1108" y="369"/>
                  </a:lnTo>
                  <a:lnTo>
                    <a:pt x="1108" y="380"/>
                  </a:lnTo>
                  <a:lnTo>
                    <a:pt x="1107" y="385"/>
                  </a:lnTo>
                  <a:lnTo>
                    <a:pt x="1105" y="413"/>
                  </a:lnTo>
                  <a:lnTo>
                    <a:pt x="1101" y="441"/>
                  </a:lnTo>
                  <a:lnTo>
                    <a:pt x="1095" y="467"/>
                  </a:lnTo>
                  <a:lnTo>
                    <a:pt x="1086" y="494"/>
                  </a:lnTo>
                  <a:lnTo>
                    <a:pt x="1074" y="518"/>
                  </a:lnTo>
                  <a:lnTo>
                    <a:pt x="1060" y="542"/>
                  </a:lnTo>
                  <a:lnTo>
                    <a:pt x="1044" y="563"/>
                  </a:lnTo>
                  <a:lnTo>
                    <a:pt x="1027" y="583"/>
                  </a:lnTo>
                  <a:lnTo>
                    <a:pt x="1009" y="602"/>
                  </a:lnTo>
                  <a:lnTo>
                    <a:pt x="989" y="617"/>
                  </a:lnTo>
                  <a:lnTo>
                    <a:pt x="966" y="631"/>
                  </a:lnTo>
                  <a:lnTo>
                    <a:pt x="944" y="643"/>
                  </a:lnTo>
                  <a:lnTo>
                    <a:pt x="918" y="652"/>
                  </a:lnTo>
                  <a:lnTo>
                    <a:pt x="893" y="660"/>
                  </a:lnTo>
                  <a:lnTo>
                    <a:pt x="868" y="664"/>
                  </a:lnTo>
                  <a:lnTo>
                    <a:pt x="841" y="665"/>
                  </a:lnTo>
                  <a:lnTo>
                    <a:pt x="814" y="664"/>
                  </a:lnTo>
                  <a:lnTo>
                    <a:pt x="788" y="660"/>
                  </a:lnTo>
                  <a:lnTo>
                    <a:pt x="763" y="652"/>
                  </a:lnTo>
                  <a:lnTo>
                    <a:pt x="738" y="643"/>
                  </a:lnTo>
                  <a:lnTo>
                    <a:pt x="715" y="631"/>
                  </a:lnTo>
                  <a:lnTo>
                    <a:pt x="693" y="617"/>
                  </a:lnTo>
                  <a:lnTo>
                    <a:pt x="673" y="602"/>
                  </a:lnTo>
                  <a:lnTo>
                    <a:pt x="654" y="583"/>
                  </a:lnTo>
                  <a:lnTo>
                    <a:pt x="637" y="563"/>
                  </a:lnTo>
                  <a:lnTo>
                    <a:pt x="621" y="542"/>
                  </a:lnTo>
                  <a:lnTo>
                    <a:pt x="608" y="518"/>
                  </a:lnTo>
                  <a:lnTo>
                    <a:pt x="596" y="494"/>
                  </a:lnTo>
                  <a:lnTo>
                    <a:pt x="587" y="467"/>
                  </a:lnTo>
                  <a:lnTo>
                    <a:pt x="580" y="441"/>
                  </a:lnTo>
                  <a:lnTo>
                    <a:pt x="576" y="413"/>
                  </a:lnTo>
                  <a:lnTo>
                    <a:pt x="575" y="385"/>
                  </a:lnTo>
                  <a:lnTo>
                    <a:pt x="573" y="380"/>
                  </a:lnTo>
                  <a:lnTo>
                    <a:pt x="573" y="369"/>
                  </a:lnTo>
                  <a:lnTo>
                    <a:pt x="573" y="340"/>
                  </a:lnTo>
                  <a:lnTo>
                    <a:pt x="575" y="297"/>
                  </a:lnTo>
                  <a:lnTo>
                    <a:pt x="576" y="267"/>
                  </a:lnTo>
                  <a:lnTo>
                    <a:pt x="579" y="238"/>
                  </a:lnTo>
                  <a:lnTo>
                    <a:pt x="585" y="210"/>
                  </a:lnTo>
                  <a:lnTo>
                    <a:pt x="595" y="182"/>
                  </a:lnTo>
                  <a:lnTo>
                    <a:pt x="605" y="157"/>
                  </a:lnTo>
                  <a:lnTo>
                    <a:pt x="618" y="131"/>
                  </a:lnTo>
                  <a:lnTo>
                    <a:pt x="634" y="109"/>
                  </a:lnTo>
                  <a:lnTo>
                    <a:pt x="650" y="88"/>
                  </a:lnTo>
                  <a:lnTo>
                    <a:pt x="670" y="69"/>
                  </a:lnTo>
                  <a:lnTo>
                    <a:pt x="690" y="50"/>
                  </a:lnTo>
                  <a:lnTo>
                    <a:pt x="713" y="36"/>
                  </a:lnTo>
                  <a:lnTo>
                    <a:pt x="735" y="24"/>
                  </a:lnTo>
                  <a:lnTo>
                    <a:pt x="760" y="13"/>
                  </a:lnTo>
                  <a:lnTo>
                    <a:pt x="786" y="5"/>
                  </a:lnTo>
                  <a:lnTo>
                    <a:pt x="814" y="1"/>
                  </a:lnTo>
                  <a:lnTo>
                    <a:pt x="841" y="0"/>
                  </a:lnTo>
                  <a:close/>
                  <a:moveTo>
                    <a:pt x="1417" y="3144"/>
                  </a:moveTo>
                  <a:lnTo>
                    <a:pt x="1538" y="3046"/>
                  </a:lnTo>
                  <a:lnTo>
                    <a:pt x="1600" y="2791"/>
                  </a:lnTo>
                  <a:lnTo>
                    <a:pt x="1655" y="2791"/>
                  </a:lnTo>
                  <a:lnTo>
                    <a:pt x="1585" y="3077"/>
                  </a:lnTo>
                  <a:lnTo>
                    <a:pt x="1413" y="3215"/>
                  </a:lnTo>
                  <a:lnTo>
                    <a:pt x="1343" y="4763"/>
                  </a:lnTo>
                  <a:lnTo>
                    <a:pt x="897" y="4763"/>
                  </a:lnTo>
                  <a:lnTo>
                    <a:pt x="897" y="2726"/>
                  </a:lnTo>
                  <a:lnTo>
                    <a:pt x="844" y="2726"/>
                  </a:lnTo>
                  <a:lnTo>
                    <a:pt x="844" y="4763"/>
                  </a:lnTo>
                  <a:lnTo>
                    <a:pt x="398" y="4763"/>
                  </a:lnTo>
                  <a:lnTo>
                    <a:pt x="326" y="3217"/>
                  </a:lnTo>
                  <a:lnTo>
                    <a:pt x="153" y="3077"/>
                  </a:lnTo>
                  <a:lnTo>
                    <a:pt x="82" y="2791"/>
                  </a:lnTo>
                  <a:lnTo>
                    <a:pt x="137" y="2791"/>
                  </a:lnTo>
                  <a:lnTo>
                    <a:pt x="199" y="3046"/>
                  </a:lnTo>
                  <a:lnTo>
                    <a:pt x="322" y="3147"/>
                  </a:lnTo>
                  <a:lnTo>
                    <a:pt x="304" y="2738"/>
                  </a:lnTo>
                  <a:lnTo>
                    <a:pt x="300" y="2738"/>
                  </a:lnTo>
                  <a:lnTo>
                    <a:pt x="0" y="2738"/>
                  </a:lnTo>
                  <a:lnTo>
                    <a:pt x="0" y="1086"/>
                  </a:lnTo>
                  <a:lnTo>
                    <a:pt x="1" y="1065"/>
                  </a:lnTo>
                  <a:lnTo>
                    <a:pt x="4" y="1045"/>
                  </a:lnTo>
                  <a:lnTo>
                    <a:pt x="9" y="1028"/>
                  </a:lnTo>
                  <a:lnTo>
                    <a:pt x="16" y="1012"/>
                  </a:lnTo>
                  <a:lnTo>
                    <a:pt x="25" y="997"/>
                  </a:lnTo>
                  <a:lnTo>
                    <a:pt x="35" y="983"/>
                  </a:lnTo>
                  <a:lnTo>
                    <a:pt x="46" y="971"/>
                  </a:lnTo>
                  <a:lnTo>
                    <a:pt x="60" y="959"/>
                  </a:lnTo>
                  <a:lnTo>
                    <a:pt x="74" y="948"/>
                  </a:lnTo>
                  <a:lnTo>
                    <a:pt x="89" y="939"/>
                  </a:lnTo>
                  <a:lnTo>
                    <a:pt x="106" y="929"/>
                  </a:lnTo>
                  <a:lnTo>
                    <a:pt x="123" y="920"/>
                  </a:lnTo>
                  <a:lnTo>
                    <a:pt x="162" y="904"/>
                  </a:lnTo>
                  <a:lnTo>
                    <a:pt x="202" y="890"/>
                  </a:lnTo>
                  <a:lnTo>
                    <a:pt x="606" y="742"/>
                  </a:lnTo>
                  <a:lnTo>
                    <a:pt x="738" y="1522"/>
                  </a:lnTo>
                  <a:lnTo>
                    <a:pt x="806" y="916"/>
                  </a:lnTo>
                  <a:lnTo>
                    <a:pt x="790" y="908"/>
                  </a:lnTo>
                  <a:lnTo>
                    <a:pt x="774" y="898"/>
                  </a:lnTo>
                  <a:lnTo>
                    <a:pt x="760" y="886"/>
                  </a:lnTo>
                  <a:lnTo>
                    <a:pt x="750" y="871"/>
                  </a:lnTo>
                  <a:lnTo>
                    <a:pt x="851" y="775"/>
                  </a:lnTo>
                  <a:lnTo>
                    <a:pt x="952" y="871"/>
                  </a:lnTo>
                  <a:lnTo>
                    <a:pt x="940" y="886"/>
                  </a:lnTo>
                  <a:lnTo>
                    <a:pt x="926" y="898"/>
                  </a:lnTo>
                  <a:lnTo>
                    <a:pt x="912" y="908"/>
                  </a:lnTo>
                  <a:lnTo>
                    <a:pt x="894" y="916"/>
                  </a:lnTo>
                  <a:lnTo>
                    <a:pt x="962" y="1522"/>
                  </a:lnTo>
                  <a:lnTo>
                    <a:pt x="1095" y="742"/>
                  </a:lnTo>
                  <a:lnTo>
                    <a:pt x="1500" y="890"/>
                  </a:lnTo>
                  <a:lnTo>
                    <a:pt x="1539" y="904"/>
                  </a:lnTo>
                  <a:lnTo>
                    <a:pt x="1577" y="920"/>
                  </a:lnTo>
                  <a:lnTo>
                    <a:pt x="1594" y="929"/>
                  </a:lnTo>
                  <a:lnTo>
                    <a:pt x="1611" y="939"/>
                  </a:lnTo>
                  <a:lnTo>
                    <a:pt x="1627" y="948"/>
                  </a:lnTo>
                  <a:lnTo>
                    <a:pt x="1642" y="959"/>
                  </a:lnTo>
                  <a:lnTo>
                    <a:pt x="1654" y="971"/>
                  </a:lnTo>
                  <a:lnTo>
                    <a:pt x="1665" y="983"/>
                  </a:lnTo>
                  <a:lnTo>
                    <a:pt x="1676" y="997"/>
                  </a:lnTo>
                  <a:lnTo>
                    <a:pt x="1684" y="1012"/>
                  </a:lnTo>
                  <a:lnTo>
                    <a:pt x="1691" y="1028"/>
                  </a:lnTo>
                  <a:lnTo>
                    <a:pt x="1696" y="1045"/>
                  </a:lnTo>
                  <a:lnTo>
                    <a:pt x="1699" y="1065"/>
                  </a:lnTo>
                  <a:lnTo>
                    <a:pt x="1700" y="1086"/>
                  </a:lnTo>
                  <a:lnTo>
                    <a:pt x="1700" y="2738"/>
                  </a:lnTo>
                  <a:lnTo>
                    <a:pt x="1436" y="2738"/>
                  </a:lnTo>
                  <a:lnTo>
                    <a:pt x="1417" y="3144"/>
                  </a:lnTo>
                  <a:close/>
                </a:path>
              </a:pathLst>
            </a:custGeom>
            <a:grpFill/>
            <a:ln w="9525">
              <a:noFill/>
              <a:round/>
              <a:headEnd/>
              <a:tailEnd/>
            </a:ln>
          </p:spPr>
          <p:txBody>
            <a:bodyPr/>
            <a:lstStyle/>
            <a:p>
              <a:pPr algn="ctr" defTabSz="761478" eaLnBrk="0" fontAlgn="base" hangingPunct="0">
                <a:spcBef>
                  <a:spcPct val="50000"/>
                </a:spcBef>
                <a:spcAft>
                  <a:spcPct val="0"/>
                </a:spcAft>
                <a:defRPr/>
              </a:pPr>
              <a:endParaRPr lang="en-US" sz="2177" kern="0" dirty="0">
                <a:solidFill>
                  <a:schemeClr val="bg1"/>
                </a:solidFill>
              </a:endParaRPr>
            </a:p>
          </p:txBody>
        </p:sp>
        <p:sp>
          <p:nvSpPr>
            <p:cNvPr id="25" name="Freeform 63"/>
            <p:cNvSpPr>
              <a:spLocks noChangeAspect="1" noEditPoints="1"/>
            </p:cNvSpPr>
            <p:nvPr/>
          </p:nvSpPr>
          <p:spPr bwMode="auto">
            <a:xfrm>
              <a:off x="6628076" y="2836361"/>
              <a:ext cx="113415" cy="359148"/>
            </a:xfrm>
            <a:custGeom>
              <a:avLst/>
              <a:gdLst>
                <a:gd name="T0" fmla="*/ 2147483647 w 1510"/>
                <a:gd name="T1" fmla="*/ 2147483647 h 4763"/>
                <a:gd name="T2" fmla="*/ 2147483647 w 1510"/>
                <a:gd name="T3" fmla="*/ 2147483647 h 4763"/>
                <a:gd name="T4" fmla="*/ 2147483647 w 1510"/>
                <a:gd name="T5" fmla="*/ 2147483647 h 4763"/>
                <a:gd name="T6" fmla="*/ 2147483647 w 1510"/>
                <a:gd name="T7" fmla="*/ 2147483647 h 4763"/>
                <a:gd name="T8" fmla="*/ 2147483647 w 1510"/>
                <a:gd name="T9" fmla="*/ 2147483647 h 4763"/>
                <a:gd name="T10" fmla="*/ 2147483647 w 1510"/>
                <a:gd name="T11" fmla="*/ 2147483647 h 4763"/>
                <a:gd name="T12" fmla="*/ 2147483647 w 1510"/>
                <a:gd name="T13" fmla="*/ 2147483647 h 4763"/>
                <a:gd name="T14" fmla="*/ 2147483647 w 1510"/>
                <a:gd name="T15" fmla="*/ 2147483647 h 4763"/>
                <a:gd name="T16" fmla="*/ 2147483647 w 1510"/>
                <a:gd name="T17" fmla="*/ 2147483647 h 4763"/>
                <a:gd name="T18" fmla="*/ 2147483647 w 1510"/>
                <a:gd name="T19" fmla="*/ 2147483647 h 4763"/>
                <a:gd name="T20" fmla="*/ 2147483647 w 1510"/>
                <a:gd name="T21" fmla="*/ 2147483647 h 4763"/>
                <a:gd name="T22" fmla="*/ 2147483647 w 1510"/>
                <a:gd name="T23" fmla="*/ 2147483647 h 4763"/>
                <a:gd name="T24" fmla="*/ 2147483647 w 1510"/>
                <a:gd name="T25" fmla="*/ 2147483647 h 4763"/>
                <a:gd name="T26" fmla="*/ 2147483647 w 1510"/>
                <a:gd name="T27" fmla="*/ 2147483647 h 4763"/>
                <a:gd name="T28" fmla="*/ 2147483647 w 1510"/>
                <a:gd name="T29" fmla="*/ 2147483647 h 4763"/>
                <a:gd name="T30" fmla="*/ 2147483647 w 1510"/>
                <a:gd name="T31" fmla="*/ 2147483647 h 4763"/>
                <a:gd name="T32" fmla="*/ 2147483647 w 1510"/>
                <a:gd name="T33" fmla="*/ 2147483647 h 4763"/>
                <a:gd name="T34" fmla="*/ 2147483647 w 1510"/>
                <a:gd name="T35" fmla="*/ 2147483647 h 4763"/>
                <a:gd name="T36" fmla="*/ 2147483647 w 1510"/>
                <a:gd name="T37" fmla="*/ 2147483647 h 4763"/>
                <a:gd name="T38" fmla="*/ 2147483647 w 1510"/>
                <a:gd name="T39" fmla="*/ 2147483647 h 4763"/>
                <a:gd name="T40" fmla="*/ 2147483647 w 1510"/>
                <a:gd name="T41" fmla="*/ 2147483647 h 4763"/>
                <a:gd name="T42" fmla="*/ 2147483647 w 1510"/>
                <a:gd name="T43" fmla="*/ 2147483647 h 4763"/>
                <a:gd name="T44" fmla="*/ 2147483647 w 1510"/>
                <a:gd name="T45" fmla="*/ 2147483647 h 4763"/>
                <a:gd name="T46" fmla="*/ 2147483647 w 1510"/>
                <a:gd name="T47" fmla="*/ 2147483647 h 4763"/>
                <a:gd name="T48" fmla="*/ 2147483647 w 1510"/>
                <a:gd name="T49" fmla="*/ 2147483647 h 4763"/>
                <a:gd name="T50" fmla="*/ 2147483647 w 1510"/>
                <a:gd name="T51" fmla="*/ 2147483647 h 4763"/>
                <a:gd name="T52" fmla="*/ 2147483647 w 1510"/>
                <a:gd name="T53" fmla="*/ 2147483647 h 4763"/>
                <a:gd name="T54" fmla="*/ 2147483647 w 1510"/>
                <a:gd name="T55" fmla="*/ 2147483647 h 4763"/>
                <a:gd name="T56" fmla="*/ 2147483647 w 1510"/>
                <a:gd name="T57" fmla="*/ 2147483647 h 4763"/>
                <a:gd name="T58" fmla="*/ 2147483647 w 1510"/>
                <a:gd name="T59" fmla="*/ 2147483647 h 4763"/>
                <a:gd name="T60" fmla="*/ 2147483647 w 1510"/>
                <a:gd name="T61" fmla="*/ 2147483647 h 4763"/>
                <a:gd name="T62" fmla="*/ 2147483647 w 1510"/>
                <a:gd name="T63" fmla="*/ 2147483647 h 4763"/>
                <a:gd name="T64" fmla="*/ 2147483647 w 1510"/>
                <a:gd name="T65" fmla="*/ 2147483647 h 4763"/>
                <a:gd name="T66" fmla="*/ 2147483647 w 1510"/>
                <a:gd name="T67" fmla="*/ 2147483647 h 4763"/>
                <a:gd name="T68" fmla="*/ 2147483647 w 1510"/>
                <a:gd name="T69" fmla="*/ 2147483647 h 4763"/>
                <a:gd name="T70" fmla="*/ 2147483647 w 1510"/>
                <a:gd name="T71" fmla="*/ 2147483647 h 4763"/>
                <a:gd name="T72" fmla="*/ 2147483647 w 1510"/>
                <a:gd name="T73" fmla="*/ 2147483647 h 4763"/>
                <a:gd name="T74" fmla="*/ 2147483647 w 1510"/>
                <a:gd name="T75" fmla="*/ 2147483647 h 4763"/>
                <a:gd name="T76" fmla="*/ 2147483647 w 1510"/>
                <a:gd name="T77" fmla="*/ 2147483647 h 4763"/>
                <a:gd name="T78" fmla="*/ 2147483647 w 1510"/>
                <a:gd name="T79" fmla="*/ 2147483647 h 4763"/>
                <a:gd name="T80" fmla="*/ 2147483647 w 1510"/>
                <a:gd name="T81" fmla="*/ 2147483647 h 4763"/>
                <a:gd name="T82" fmla="*/ 2147483647 w 1510"/>
                <a:gd name="T83" fmla="*/ 2147483647 h 4763"/>
                <a:gd name="T84" fmla="*/ 2147483647 w 1510"/>
                <a:gd name="T85" fmla="*/ 2147483647 h 4763"/>
                <a:gd name="T86" fmla="*/ 2147483647 w 1510"/>
                <a:gd name="T87" fmla="*/ 2147483647 h 4763"/>
                <a:gd name="T88" fmla="*/ 2147483647 w 1510"/>
                <a:gd name="T89" fmla="*/ 2147483647 h 4763"/>
                <a:gd name="T90" fmla="*/ 2147483647 w 1510"/>
                <a:gd name="T91" fmla="*/ 2147483647 h 4763"/>
                <a:gd name="T92" fmla="*/ 2147483647 w 1510"/>
                <a:gd name="T93" fmla="*/ 2147483647 h 4763"/>
                <a:gd name="T94" fmla="*/ 2147483647 w 1510"/>
                <a:gd name="T95" fmla="*/ 2147483647 h 4763"/>
                <a:gd name="T96" fmla="*/ 2147483647 w 1510"/>
                <a:gd name="T97" fmla="*/ 2147483647 h 4763"/>
                <a:gd name="T98" fmla="*/ 2147483647 w 1510"/>
                <a:gd name="T99" fmla="*/ 2147483647 h 4763"/>
                <a:gd name="T100" fmla="*/ 2147483647 w 1510"/>
                <a:gd name="T101" fmla="*/ 2147483647 h 4763"/>
                <a:gd name="T102" fmla="*/ 2147483647 w 1510"/>
                <a:gd name="T103" fmla="*/ 2147483647 h 4763"/>
                <a:gd name="T104" fmla="*/ 2147483647 w 1510"/>
                <a:gd name="T105" fmla="*/ 2147483647 h 4763"/>
                <a:gd name="T106" fmla="*/ 2147483647 w 1510"/>
                <a:gd name="T107" fmla="*/ 2147483647 h 4763"/>
                <a:gd name="T108" fmla="*/ 2147483647 w 1510"/>
                <a:gd name="T109" fmla="*/ 2147483647 h 4763"/>
                <a:gd name="T110" fmla="*/ 2147483647 w 1510"/>
                <a:gd name="T111" fmla="*/ 2147483647 h 4763"/>
                <a:gd name="T112" fmla="*/ 2147483647 w 1510"/>
                <a:gd name="T113" fmla="*/ 2147483647 h 4763"/>
                <a:gd name="T114" fmla="*/ 2147483647 w 1510"/>
                <a:gd name="T115" fmla="*/ 2147483647 h 4763"/>
                <a:gd name="T116" fmla="*/ 2147483647 w 1510"/>
                <a:gd name="T117" fmla="*/ 2147483647 h 4763"/>
                <a:gd name="T118" fmla="*/ 2147483647 w 1510"/>
                <a:gd name="T119" fmla="*/ 2147483647 h 4763"/>
                <a:gd name="T120" fmla="*/ 2147483647 w 1510"/>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10"/>
                <a:gd name="T184" fmla="*/ 0 h 4763"/>
                <a:gd name="T185" fmla="*/ 1510 w 1510"/>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10" h="4763">
                  <a:moveTo>
                    <a:pt x="544" y="802"/>
                  </a:moveTo>
                  <a:lnTo>
                    <a:pt x="749" y="1234"/>
                  </a:lnTo>
                  <a:lnTo>
                    <a:pt x="951" y="806"/>
                  </a:lnTo>
                  <a:lnTo>
                    <a:pt x="1157" y="841"/>
                  </a:lnTo>
                  <a:lnTo>
                    <a:pt x="1184" y="846"/>
                  </a:lnTo>
                  <a:lnTo>
                    <a:pt x="1212" y="852"/>
                  </a:lnTo>
                  <a:lnTo>
                    <a:pt x="1238" y="860"/>
                  </a:lnTo>
                  <a:lnTo>
                    <a:pt x="1264" y="870"/>
                  </a:lnTo>
                  <a:lnTo>
                    <a:pt x="1287" y="879"/>
                  </a:lnTo>
                  <a:lnTo>
                    <a:pt x="1311" y="892"/>
                  </a:lnTo>
                  <a:lnTo>
                    <a:pt x="1333" y="907"/>
                  </a:lnTo>
                  <a:lnTo>
                    <a:pt x="1353" y="922"/>
                  </a:lnTo>
                  <a:lnTo>
                    <a:pt x="1371" y="941"/>
                  </a:lnTo>
                  <a:lnTo>
                    <a:pt x="1388" y="960"/>
                  </a:lnTo>
                  <a:lnTo>
                    <a:pt x="1403" y="984"/>
                  </a:lnTo>
                  <a:lnTo>
                    <a:pt x="1414" y="1007"/>
                  </a:lnTo>
                  <a:lnTo>
                    <a:pt x="1423" y="1034"/>
                  </a:lnTo>
                  <a:lnTo>
                    <a:pt x="1432" y="1065"/>
                  </a:lnTo>
                  <a:lnTo>
                    <a:pt x="1436" y="1096"/>
                  </a:lnTo>
                  <a:lnTo>
                    <a:pt x="1437" y="1131"/>
                  </a:lnTo>
                  <a:lnTo>
                    <a:pt x="1437" y="2330"/>
                  </a:lnTo>
                  <a:lnTo>
                    <a:pt x="1301" y="2735"/>
                  </a:lnTo>
                  <a:lnTo>
                    <a:pt x="1510" y="3779"/>
                  </a:lnTo>
                  <a:lnTo>
                    <a:pt x="1157" y="3779"/>
                  </a:lnTo>
                  <a:lnTo>
                    <a:pt x="1021" y="4763"/>
                  </a:lnTo>
                  <a:lnTo>
                    <a:pt x="910" y="4763"/>
                  </a:lnTo>
                  <a:lnTo>
                    <a:pt x="1046" y="3779"/>
                  </a:lnTo>
                  <a:lnTo>
                    <a:pt x="787" y="3779"/>
                  </a:lnTo>
                  <a:lnTo>
                    <a:pt x="782" y="4763"/>
                  </a:lnTo>
                  <a:lnTo>
                    <a:pt x="727" y="4763"/>
                  </a:lnTo>
                  <a:lnTo>
                    <a:pt x="732" y="3779"/>
                  </a:lnTo>
                  <a:lnTo>
                    <a:pt x="464" y="3779"/>
                  </a:lnTo>
                  <a:lnTo>
                    <a:pt x="599" y="4763"/>
                  </a:lnTo>
                  <a:lnTo>
                    <a:pt x="488" y="4763"/>
                  </a:lnTo>
                  <a:lnTo>
                    <a:pt x="353" y="3779"/>
                  </a:lnTo>
                  <a:lnTo>
                    <a:pt x="0" y="3779"/>
                  </a:lnTo>
                  <a:lnTo>
                    <a:pt x="213" y="2737"/>
                  </a:lnTo>
                  <a:lnTo>
                    <a:pt x="73" y="2331"/>
                  </a:lnTo>
                  <a:lnTo>
                    <a:pt x="73" y="1131"/>
                  </a:lnTo>
                  <a:lnTo>
                    <a:pt x="74" y="1098"/>
                  </a:lnTo>
                  <a:lnTo>
                    <a:pt x="78" y="1066"/>
                  </a:lnTo>
                  <a:lnTo>
                    <a:pt x="84" y="1037"/>
                  </a:lnTo>
                  <a:lnTo>
                    <a:pt x="93" y="1011"/>
                  </a:lnTo>
                  <a:lnTo>
                    <a:pt x="104" y="988"/>
                  </a:lnTo>
                  <a:lnTo>
                    <a:pt x="118" y="966"/>
                  </a:lnTo>
                  <a:lnTo>
                    <a:pt x="133" y="947"/>
                  </a:lnTo>
                  <a:lnTo>
                    <a:pt x="151" y="929"/>
                  </a:lnTo>
                  <a:lnTo>
                    <a:pt x="170" y="912"/>
                  </a:lnTo>
                  <a:lnTo>
                    <a:pt x="191" y="898"/>
                  </a:lnTo>
                  <a:lnTo>
                    <a:pt x="213" y="886"/>
                  </a:lnTo>
                  <a:lnTo>
                    <a:pt x="236" y="875"/>
                  </a:lnTo>
                  <a:lnTo>
                    <a:pt x="260" y="866"/>
                  </a:lnTo>
                  <a:lnTo>
                    <a:pt x="284" y="857"/>
                  </a:lnTo>
                  <a:lnTo>
                    <a:pt x="311" y="850"/>
                  </a:lnTo>
                  <a:lnTo>
                    <a:pt x="337" y="845"/>
                  </a:lnTo>
                  <a:lnTo>
                    <a:pt x="544" y="802"/>
                  </a:lnTo>
                  <a:close/>
                  <a:moveTo>
                    <a:pt x="956" y="919"/>
                  </a:moveTo>
                  <a:lnTo>
                    <a:pt x="747" y="1360"/>
                  </a:lnTo>
                  <a:lnTo>
                    <a:pt x="536" y="915"/>
                  </a:lnTo>
                  <a:lnTo>
                    <a:pt x="365" y="945"/>
                  </a:lnTo>
                  <a:lnTo>
                    <a:pt x="348" y="949"/>
                  </a:lnTo>
                  <a:lnTo>
                    <a:pt x="330" y="953"/>
                  </a:lnTo>
                  <a:lnTo>
                    <a:pt x="312" y="959"/>
                  </a:lnTo>
                  <a:lnTo>
                    <a:pt x="295" y="966"/>
                  </a:lnTo>
                  <a:lnTo>
                    <a:pt x="279" y="973"/>
                  </a:lnTo>
                  <a:lnTo>
                    <a:pt x="264" y="981"/>
                  </a:lnTo>
                  <a:lnTo>
                    <a:pt x="250" y="991"/>
                  </a:lnTo>
                  <a:lnTo>
                    <a:pt x="236" y="1002"/>
                  </a:lnTo>
                  <a:lnTo>
                    <a:pt x="225" y="1012"/>
                  </a:lnTo>
                  <a:lnTo>
                    <a:pt x="214" y="1026"/>
                  </a:lnTo>
                  <a:lnTo>
                    <a:pt x="205" y="1040"/>
                  </a:lnTo>
                  <a:lnTo>
                    <a:pt x="196" y="1056"/>
                  </a:lnTo>
                  <a:lnTo>
                    <a:pt x="191" y="1073"/>
                  </a:lnTo>
                  <a:lnTo>
                    <a:pt x="185" y="1091"/>
                  </a:lnTo>
                  <a:lnTo>
                    <a:pt x="183" y="1110"/>
                  </a:lnTo>
                  <a:lnTo>
                    <a:pt x="183" y="1131"/>
                  </a:lnTo>
                  <a:lnTo>
                    <a:pt x="183" y="2253"/>
                  </a:lnTo>
                  <a:lnTo>
                    <a:pt x="361" y="2253"/>
                  </a:lnTo>
                  <a:lnTo>
                    <a:pt x="404" y="2069"/>
                  </a:lnTo>
                  <a:lnTo>
                    <a:pt x="404" y="1504"/>
                  </a:lnTo>
                  <a:lnTo>
                    <a:pt x="334" y="1184"/>
                  </a:lnTo>
                  <a:lnTo>
                    <a:pt x="387" y="1172"/>
                  </a:lnTo>
                  <a:lnTo>
                    <a:pt x="459" y="1499"/>
                  </a:lnTo>
                  <a:lnTo>
                    <a:pt x="459" y="2072"/>
                  </a:lnTo>
                  <a:lnTo>
                    <a:pt x="1050" y="2072"/>
                  </a:lnTo>
                  <a:lnTo>
                    <a:pt x="1050" y="1499"/>
                  </a:lnTo>
                  <a:lnTo>
                    <a:pt x="1123" y="1172"/>
                  </a:lnTo>
                  <a:lnTo>
                    <a:pt x="1176" y="1184"/>
                  </a:lnTo>
                  <a:lnTo>
                    <a:pt x="1105" y="1504"/>
                  </a:lnTo>
                  <a:lnTo>
                    <a:pt x="1105" y="2069"/>
                  </a:lnTo>
                  <a:lnTo>
                    <a:pt x="1147" y="2253"/>
                  </a:lnTo>
                  <a:lnTo>
                    <a:pt x="1327" y="2253"/>
                  </a:lnTo>
                  <a:lnTo>
                    <a:pt x="1327" y="1131"/>
                  </a:lnTo>
                  <a:lnTo>
                    <a:pt x="1326" y="1110"/>
                  </a:lnTo>
                  <a:lnTo>
                    <a:pt x="1323" y="1092"/>
                  </a:lnTo>
                  <a:lnTo>
                    <a:pt x="1319" y="1073"/>
                  </a:lnTo>
                  <a:lnTo>
                    <a:pt x="1314" y="1056"/>
                  </a:lnTo>
                  <a:lnTo>
                    <a:pt x="1305" y="1041"/>
                  </a:lnTo>
                  <a:lnTo>
                    <a:pt x="1297" y="1028"/>
                  </a:lnTo>
                  <a:lnTo>
                    <a:pt x="1286" y="1014"/>
                  </a:lnTo>
                  <a:lnTo>
                    <a:pt x="1275" y="1002"/>
                  </a:lnTo>
                  <a:lnTo>
                    <a:pt x="1263" y="992"/>
                  </a:lnTo>
                  <a:lnTo>
                    <a:pt x="1249" y="982"/>
                  </a:lnTo>
                  <a:lnTo>
                    <a:pt x="1234" y="973"/>
                  </a:lnTo>
                  <a:lnTo>
                    <a:pt x="1219" y="966"/>
                  </a:lnTo>
                  <a:lnTo>
                    <a:pt x="1202" y="959"/>
                  </a:lnTo>
                  <a:lnTo>
                    <a:pt x="1186" y="955"/>
                  </a:lnTo>
                  <a:lnTo>
                    <a:pt x="1169" y="951"/>
                  </a:lnTo>
                  <a:lnTo>
                    <a:pt x="1151" y="947"/>
                  </a:lnTo>
                  <a:lnTo>
                    <a:pt x="956" y="919"/>
                  </a:lnTo>
                  <a:close/>
                  <a:moveTo>
                    <a:pt x="349" y="2308"/>
                  </a:moveTo>
                  <a:lnTo>
                    <a:pt x="183" y="2308"/>
                  </a:lnTo>
                  <a:lnTo>
                    <a:pt x="183" y="2311"/>
                  </a:lnTo>
                  <a:lnTo>
                    <a:pt x="282" y="2595"/>
                  </a:lnTo>
                  <a:lnTo>
                    <a:pt x="349" y="2308"/>
                  </a:lnTo>
                  <a:close/>
                  <a:moveTo>
                    <a:pt x="1327" y="2308"/>
                  </a:moveTo>
                  <a:lnTo>
                    <a:pt x="1160" y="2308"/>
                  </a:lnTo>
                  <a:lnTo>
                    <a:pt x="1227" y="2607"/>
                  </a:lnTo>
                  <a:lnTo>
                    <a:pt x="1327" y="2311"/>
                  </a:lnTo>
                  <a:lnTo>
                    <a:pt x="1327" y="2308"/>
                  </a:lnTo>
                  <a:close/>
                  <a:moveTo>
                    <a:pt x="1085" y="372"/>
                  </a:moveTo>
                  <a:lnTo>
                    <a:pt x="1085" y="445"/>
                  </a:lnTo>
                  <a:lnTo>
                    <a:pt x="1084" y="473"/>
                  </a:lnTo>
                  <a:lnTo>
                    <a:pt x="1081" y="496"/>
                  </a:lnTo>
                  <a:lnTo>
                    <a:pt x="1079" y="506"/>
                  </a:lnTo>
                  <a:lnTo>
                    <a:pt x="1076" y="515"/>
                  </a:lnTo>
                  <a:lnTo>
                    <a:pt x="1072" y="522"/>
                  </a:lnTo>
                  <a:lnTo>
                    <a:pt x="1068" y="529"/>
                  </a:lnTo>
                  <a:lnTo>
                    <a:pt x="1063" y="534"/>
                  </a:lnTo>
                  <a:lnTo>
                    <a:pt x="1058" y="540"/>
                  </a:lnTo>
                  <a:lnTo>
                    <a:pt x="1052" y="544"/>
                  </a:lnTo>
                  <a:lnTo>
                    <a:pt x="1047" y="547"/>
                  </a:lnTo>
                  <a:lnTo>
                    <a:pt x="1033" y="551"/>
                  </a:lnTo>
                  <a:lnTo>
                    <a:pt x="1018" y="552"/>
                  </a:lnTo>
                  <a:lnTo>
                    <a:pt x="1010" y="577"/>
                  </a:lnTo>
                  <a:lnTo>
                    <a:pt x="1025" y="587"/>
                  </a:lnTo>
                  <a:lnTo>
                    <a:pt x="1041" y="596"/>
                  </a:lnTo>
                  <a:lnTo>
                    <a:pt x="1058" y="603"/>
                  </a:lnTo>
                  <a:lnTo>
                    <a:pt x="1074" y="609"/>
                  </a:lnTo>
                  <a:lnTo>
                    <a:pt x="1092" y="614"/>
                  </a:lnTo>
                  <a:lnTo>
                    <a:pt x="1112" y="617"/>
                  </a:lnTo>
                  <a:lnTo>
                    <a:pt x="1129" y="618"/>
                  </a:lnTo>
                  <a:lnTo>
                    <a:pt x="1149" y="617"/>
                  </a:lnTo>
                  <a:lnTo>
                    <a:pt x="1151" y="617"/>
                  </a:lnTo>
                  <a:lnTo>
                    <a:pt x="1149" y="631"/>
                  </a:lnTo>
                  <a:lnTo>
                    <a:pt x="1146" y="643"/>
                  </a:lnTo>
                  <a:lnTo>
                    <a:pt x="1140" y="654"/>
                  </a:lnTo>
                  <a:lnTo>
                    <a:pt x="1135" y="666"/>
                  </a:lnTo>
                  <a:lnTo>
                    <a:pt x="1128" y="677"/>
                  </a:lnTo>
                  <a:lnTo>
                    <a:pt x="1120" y="687"/>
                  </a:lnTo>
                  <a:lnTo>
                    <a:pt x="1112" y="697"/>
                  </a:lnTo>
                  <a:lnTo>
                    <a:pt x="1102" y="706"/>
                  </a:lnTo>
                  <a:lnTo>
                    <a:pt x="1091" y="714"/>
                  </a:lnTo>
                  <a:lnTo>
                    <a:pt x="1080" y="721"/>
                  </a:lnTo>
                  <a:lnTo>
                    <a:pt x="1068" y="728"/>
                  </a:lnTo>
                  <a:lnTo>
                    <a:pt x="1055" y="734"/>
                  </a:lnTo>
                  <a:lnTo>
                    <a:pt x="1041" y="739"/>
                  </a:lnTo>
                  <a:lnTo>
                    <a:pt x="1028" y="743"/>
                  </a:lnTo>
                  <a:lnTo>
                    <a:pt x="1014" y="746"/>
                  </a:lnTo>
                  <a:lnTo>
                    <a:pt x="999" y="747"/>
                  </a:lnTo>
                  <a:lnTo>
                    <a:pt x="984" y="747"/>
                  </a:lnTo>
                  <a:lnTo>
                    <a:pt x="970" y="747"/>
                  </a:lnTo>
                  <a:lnTo>
                    <a:pt x="958" y="746"/>
                  </a:lnTo>
                  <a:lnTo>
                    <a:pt x="944" y="743"/>
                  </a:lnTo>
                  <a:lnTo>
                    <a:pt x="930" y="740"/>
                  </a:lnTo>
                  <a:lnTo>
                    <a:pt x="918" y="736"/>
                  </a:lnTo>
                  <a:lnTo>
                    <a:pt x="905" y="732"/>
                  </a:lnTo>
                  <a:lnTo>
                    <a:pt x="893" y="727"/>
                  </a:lnTo>
                  <a:lnTo>
                    <a:pt x="878" y="736"/>
                  </a:lnTo>
                  <a:lnTo>
                    <a:pt x="861" y="743"/>
                  </a:lnTo>
                  <a:lnTo>
                    <a:pt x="846" y="750"/>
                  </a:lnTo>
                  <a:lnTo>
                    <a:pt x="829" y="757"/>
                  </a:lnTo>
                  <a:lnTo>
                    <a:pt x="812" y="761"/>
                  </a:lnTo>
                  <a:lnTo>
                    <a:pt x="794" y="764"/>
                  </a:lnTo>
                  <a:lnTo>
                    <a:pt x="776" y="767"/>
                  </a:lnTo>
                  <a:lnTo>
                    <a:pt x="757" y="767"/>
                  </a:lnTo>
                  <a:lnTo>
                    <a:pt x="738" y="767"/>
                  </a:lnTo>
                  <a:lnTo>
                    <a:pt x="719" y="764"/>
                  </a:lnTo>
                  <a:lnTo>
                    <a:pt x="699" y="760"/>
                  </a:lnTo>
                  <a:lnTo>
                    <a:pt x="681" y="756"/>
                  </a:lnTo>
                  <a:lnTo>
                    <a:pt x="664" y="749"/>
                  </a:lnTo>
                  <a:lnTo>
                    <a:pt x="646" y="740"/>
                  </a:lnTo>
                  <a:lnTo>
                    <a:pt x="629" y="732"/>
                  </a:lnTo>
                  <a:lnTo>
                    <a:pt x="614" y="721"/>
                  </a:lnTo>
                  <a:lnTo>
                    <a:pt x="600" y="728"/>
                  </a:lnTo>
                  <a:lnTo>
                    <a:pt x="587" y="734"/>
                  </a:lnTo>
                  <a:lnTo>
                    <a:pt x="573" y="739"/>
                  </a:lnTo>
                  <a:lnTo>
                    <a:pt x="559" y="742"/>
                  </a:lnTo>
                  <a:lnTo>
                    <a:pt x="544" y="745"/>
                  </a:lnTo>
                  <a:lnTo>
                    <a:pt x="529" y="747"/>
                  </a:lnTo>
                  <a:lnTo>
                    <a:pt x="514" y="747"/>
                  </a:lnTo>
                  <a:lnTo>
                    <a:pt x="499" y="747"/>
                  </a:lnTo>
                  <a:lnTo>
                    <a:pt x="484" y="746"/>
                  </a:lnTo>
                  <a:lnTo>
                    <a:pt x="469" y="743"/>
                  </a:lnTo>
                  <a:lnTo>
                    <a:pt x="455" y="739"/>
                  </a:lnTo>
                  <a:lnTo>
                    <a:pt x="441" y="734"/>
                  </a:lnTo>
                  <a:lnTo>
                    <a:pt x="429" y="728"/>
                  </a:lnTo>
                  <a:lnTo>
                    <a:pt x="416" y="721"/>
                  </a:lnTo>
                  <a:lnTo>
                    <a:pt x="405" y="714"/>
                  </a:lnTo>
                  <a:lnTo>
                    <a:pt x="394" y="706"/>
                  </a:lnTo>
                  <a:lnTo>
                    <a:pt x="385" y="697"/>
                  </a:lnTo>
                  <a:lnTo>
                    <a:pt x="376" y="687"/>
                  </a:lnTo>
                  <a:lnTo>
                    <a:pt x="368" y="677"/>
                  </a:lnTo>
                  <a:lnTo>
                    <a:pt x="361" y="666"/>
                  </a:lnTo>
                  <a:lnTo>
                    <a:pt x="356" y="654"/>
                  </a:lnTo>
                  <a:lnTo>
                    <a:pt x="352" y="643"/>
                  </a:lnTo>
                  <a:lnTo>
                    <a:pt x="348" y="631"/>
                  </a:lnTo>
                  <a:lnTo>
                    <a:pt x="345" y="617"/>
                  </a:lnTo>
                  <a:lnTo>
                    <a:pt x="348" y="617"/>
                  </a:lnTo>
                  <a:lnTo>
                    <a:pt x="370" y="618"/>
                  </a:lnTo>
                  <a:lnTo>
                    <a:pt x="390" y="615"/>
                  </a:lnTo>
                  <a:lnTo>
                    <a:pt x="411" y="613"/>
                  </a:lnTo>
                  <a:lnTo>
                    <a:pt x="430" y="606"/>
                  </a:lnTo>
                  <a:lnTo>
                    <a:pt x="449" y="599"/>
                  </a:lnTo>
                  <a:lnTo>
                    <a:pt x="469" y="589"/>
                  </a:lnTo>
                  <a:lnTo>
                    <a:pt x="485" y="578"/>
                  </a:lnTo>
                  <a:lnTo>
                    <a:pt x="500" y="566"/>
                  </a:lnTo>
                  <a:lnTo>
                    <a:pt x="496" y="552"/>
                  </a:lnTo>
                  <a:lnTo>
                    <a:pt x="478" y="552"/>
                  </a:lnTo>
                  <a:lnTo>
                    <a:pt x="469" y="552"/>
                  </a:lnTo>
                  <a:lnTo>
                    <a:pt x="462" y="551"/>
                  </a:lnTo>
                  <a:lnTo>
                    <a:pt x="453" y="548"/>
                  </a:lnTo>
                  <a:lnTo>
                    <a:pt x="447" y="544"/>
                  </a:lnTo>
                  <a:lnTo>
                    <a:pt x="440" y="540"/>
                  </a:lnTo>
                  <a:lnTo>
                    <a:pt x="434" y="534"/>
                  </a:lnTo>
                  <a:lnTo>
                    <a:pt x="430" y="529"/>
                  </a:lnTo>
                  <a:lnTo>
                    <a:pt x="425" y="521"/>
                  </a:lnTo>
                  <a:lnTo>
                    <a:pt x="422" y="511"/>
                  </a:lnTo>
                  <a:lnTo>
                    <a:pt x="418" y="501"/>
                  </a:lnTo>
                  <a:lnTo>
                    <a:pt x="416" y="489"/>
                  </a:lnTo>
                  <a:lnTo>
                    <a:pt x="414" y="477"/>
                  </a:lnTo>
                  <a:lnTo>
                    <a:pt x="412" y="445"/>
                  </a:lnTo>
                  <a:lnTo>
                    <a:pt x="412" y="372"/>
                  </a:lnTo>
                  <a:lnTo>
                    <a:pt x="412" y="353"/>
                  </a:lnTo>
                  <a:lnTo>
                    <a:pt x="414" y="335"/>
                  </a:lnTo>
                  <a:lnTo>
                    <a:pt x="419" y="299"/>
                  </a:lnTo>
                  <a:lnTo>
                    <a:pt x="427" y="264"/>
                  </a:lnTo>
                  <a:lnTo>
                    <a:pt x="438" y="231"/>
                  </a:lnTo>
                  <a:lnTo>
                    <a:pt x="452" y="198"/>
                  </a:lnTo>
                  <a:lnTo>
                    <a:pt x="469" y="168"/>
                  </a:lnTo>
                  <a:lnTo>
                    <a:pt x="486" y="139"/>
                  </a:lnTo>
                  <a:lnTo>
                    <a:pt x="508" y="113"/>
                  </a:lnTo>
                  <a:lnTo>
                    <a:pt x="532" y="88"/>
                  </a:lnTo>
                  <a:lnTo>
                    <a:pt x="544" y="77"/>
                  </a:lnTo>
                  <a:lnTo>
                    <a:pt x="558" y="66"/>
                  </a:lnTo>
                  <a:lnTo>
                    <a:pt x="572" y="56"/>
                  </a:lnTo>
                  <a:lnTo>
                    <a:pt x="585" y="47"/>
                  </a:lnTo>
                  <a:lnTo>
                    <a:pt x="600" y="38"/>
                  </a:lnTo>
                  <a:lnTo>
                    <a:pt x="616" y="30"/>
                  </a:lnTo>
                  <a:lnTo>
                    <a:pt x="631" y="23"/>
                  </a:lnTo>
                  <a:lnTo>
                    <a:pt x="646" y="18"/>
                  </a:lnTo>
                  <a:lnTo>
                    <a:pt x="662" y="12"/>
                  </a:lnTo>
                  <a:lnTo>
                    <a:pt x="679" y="8"/>
                  </a:lnTo>
                  <a:lnTo>
                    <a:pt x="697" y="5"/>
                  </a:lnTo>
                  <a:lnTo>
                    <a:pt x="713" y="3"/>
                  </a:lnTo>
                  <a:lnTo>
                    <a:pt x="731" y="1"/>
                  </a:lnTo>
                  <a:lnTo>
                    <a:pt x="749" y="0"/>
                  </a:lnTo>
                  <a:lnTo>
                    <a:pt x="767" y="1"/>
                  </a:lnTo>
                  <a:lnTo>
                    <a:pt x="785" y="3"/>
                  </a:lnTo>
                  <a:lnTo>
                    <a:pt x="801" y="5"/>
                  </a:lnTo>
                  <a:lnTo>
                    <a:pt x="819" y="8"/>
                  </a:lnTo>
                  <a:lnTo>
                    <a:pt x="835" y="12"/>
                  </a:lnTo>
                  <a:lnTo>
                    <a:pt x="852" y="18"/>
                  </a:lnTo>
                  <a:lnTo>
                    <a:pt x="867" y="23"/>
                  </a:lnTo>
                  <a:lnTo>
                    <a:pt x="882" y="30"/>
                  </a:lnTo>
                  <a:lnTo>
                    <a:pt x="897" y="38"/>
                  </a:lnTo>
                  <a:lnTo>
                    <a:pt x="912" y="47"/>
                  </a:lnTo>
                  <a:lnTo>
                    <a:pt x="926" y="56"/>
                  </a:lnTo>
                  <a:lnTo>
                    <a:pt x="940" y="66"/>
                  </a:lnTo>
                  <a:lnTo>
                    <a:pt x="954" y="77"/>
                  </a:lnTo>
                  <a:lnTo>
                    <a:pt x="966" y="88"/>
                  </a:lnTo>
                  <a:lnTo>
                    <a:pt x="989" y="113"/>
                  </a:lnTo>
                  <a:lnTo>
                    <a:pt x="1011" y="139"/>
                  </a:lnTo>
                  <a:lnTo>
                    <a:pt x="1029" y="168"/>
                  </a:lnTo>
                  <a:lnTo>
                    <a:pt x="1046" y="198"/>
                  </a:lnTo>
                  <a:lnTo>
                    <a:pt x="1059" y="231"/>
                  </a:lnTo>
                  <a:lnTo>
                    <a:pt x="1070" y="264"/>
                  </a:lnTo>
                  <a:lnTo>
                    <a:pt x="1079" y="299"/>
                  </a:lnTo>
                  <a:lnTo>
                    <a:pt x="1084" y="335"/>
                  </a:lnTo>
                  <a:lnTo>
                    <a:pt x="1085" y="353"/>
                  </a:lnTo>
                  <a:lnTo>
                    <a:pt x="1085" y="372"/>
                  </a:lnTo>
                  <a:close/>
                  <a:moveTo>
                    <a:pt x="911" y="199"/>
                  </a:moveTo>
                  <a:lnTo>
                    <a:pt x="911" y="199"/>
                  </a:lnTo>
                  <a:lnTo>
                    <a:pt x="925" y="217"/>
                  </a:lnTo>
                  <a:lnTo>
                    <a:pt x="938" y="236"/>
                  </a:lnTo>
                  <a:lnTo>
                    <a:pt x="948" y="257"/>
                  </a:lnTo>
                  <a:lnTo>
                    <a:pt x="958" y="278"/>
                  </a:lnTo>
                  <a:lnTo>
                    <a:pt x="966" y="301"/>
                  </a:lnTo>
                  <a:lnTo>
                    <a:pt x="971" y="326"/>
                  </a:lnTo>
                  <a:lnTo>
                    <a:pt x="974" y="350"/>
                  </a:lnTo>
                  <a:lnTo>
                    <a:pt x="976" y="376"/>
                  </a:lnTo>
                  <a:lnTo>
                    <a:pt x="976" y="463"/>
                  </a:lnTo>
                  <a:lnTo>
                    <a:pt x="974" y="489"/>
                  </a:lnTo>
                  <a:lnTo>
                    <a:pt x="970" y="514"/>
                  </a:lnTo>
                  <a:lnTo>
                    <a:pt x="965" y="539"/>
                  </a:lnTo>
                  <a:lnTo>
                    <a:pt x="958" y="561"/>
                  </a:lnTo>
                  <a:lnTo>
                    <a:pt x="948" y="582"/>
                  </a:lnTo>
                  <a:lnTo>
                    <a:pt x="937" y="603"/>
                  </a:lnTo>
                  <a:lnTo>
                    <a:pt x="925" y="622"/>
                  </a:lnTo>
                  <a:lnTo>
                    <a:pt x="911" y="640"/>
                  </a:lnTo>
                  <a:lnTo>
                    <a:pt x="894" y="657"/>
                  </a:lnTo>
                  <a:lnTo>
                    <a:pt x="878" y="670"/>
                  </a:lnTo>
                  <a:lnTo>
                    <a:pt x="860" y="683"/>
                  </a:lnTo>
                  <a:lnTo>
                    <a:pt x="841" y="692"/>
                  </a:lnTo>
                  <a:lnTo>
                    <a:pt x="822" y="701"/>
                  </a:lnTo>
                  <a:lnTo>
                    <a:pt x="801" y="708"/>
                  </a:lnTo>
                  <a:lnTo>
                    <a:pt x="779" y="710"/>
                  </a:lnTo>
                  <a:lnTo>
                    <a:pt x="757" y="712"/>
                  </a:lnTo>
                  <a:lnTo>
                    <a:pt x="735" y="710"/>
                  </a:lnTo>
                  <a:lnTo>
                    <a:pt x="714" y="708"/>
                  </a:lnTo>
                  <a:lnTo>
                    <a:pt x="694" y="701"/>
                  </a:lnTo>
                  <a:lnTo>
                    <a:pt x="673" y="692"/>
                  </a:lnTo>
                  <a:lnTo>
                    <a:pt x="655" y="683"/>
                  </a:lnTo>
                  <a:lnTo>
                    <a:pt x="636" y="670"/>
                  </a:lnTo>
                  <a:lnTo>
                    <a:pt x="620" y="657"/>
                  </a:lnTo>
                  <a:lnTo>
                    <a:pt x="605" y="640"/>
                  </a:lnTo>
                  <a:lnTo>
                    <a:pt x="591" y="622"/>
                  </a:lnTo>
                  <a:lnTo>
                    <a:pt x="577" y="603"/>
                  </a:lnTo>
                  <a:lnTo>
                    <a:pt x="566" y="582"/>
                  </a:lnTo>
                  <a:lnTo>
                    <a:pt x="556" y="561"/>
                  </a:lnTo>
                  <a:lnTo>
                    <a:pt x="550" y="539"/>
                  </a:lnTo>
                  <a:lnTo>
                    <a:pt x="544" y="514"/>
                  </a:lnTo>
                  <a:lnTo>
                    <a:pt x="540" y="489"/>
                  </a:lnTo>
                  <a:lnTo>
                    <a:pt x="540" y="463"/>
                  </a:lnTo>
                  <a:lnTo>
                    <a:pt x="540" y="434"/>
                  </a:lnTo>
                  <a:lnTo>
                    <a:pt x="569" y="438"/>
                  </a:lnTo>
                  <a:lnTo>
                    <a:pt x="599" y="440"/>
                  </a:lnTo>
                  <a:lnTo>
                    <a:pt x="627" y="438"/>
                  </a:lnTo>
                  <a:lnTo>
                    <a:pt x="654" y="434"/>
                  </a:lnTo>
                  <a:lnTo>
                    <a:pt x="680" y="429"/>
                  </a:lnTo>
                  <a:lnTo>
                    <a:pt x="705" y="422"/>
                  </a:lnTo>
                  <a:lnTo>
                    <a:pt x="730" y="412"/>
                  </a:lnTo>
                  <a:lnTo>
                    <a:pt x="753" y="400"/>
                  </a:lnTo>
                  <a:lnTo>
                    <a:pt x="776" y="386"/>
                  </a:lnTo>
                  <a:lnTo>
                    <a:pt x="797" y="371"/>
                  </a:lnTo>
                  <a:lnTo>
                    <a:pt x="818" y="354"/>
                  </a:lnTo>
                  <a:lnTo>
                    <a:pt x="835" y="337"/>
                  </a:lnTo>
                  <a:lnTo>
                    <a:pt x="852" y="316"/>
                  </a:lnTo>
                  <a:lnTo>
                    <a:pt x="868" y="295"/>
                  </a:lnTo>
                  <a:lnTo>
                    <a:pt x="882" y="273"/>
                  </a:lnTo>
                  <a:lnTo>
                    <a:pt x="893" y="250"/>
                  </a:lnTo>
                  <a:lnTo>
                    <a:pt x="903" y="225"/>
                  </a:lnTo>
                  <a:lnTo>
                    <a:pt x="911" y="199"/>
                  </a:lnTo>
                  <a:close/>
                </a:path>
              </a:pathLst>
            </a:custGeom>
            <a:grpFill/>
            <a:ln w="9525">
              <a:noFill/>
              <a:round/>
              <a:headEnd/>
              <a:tailEnd/>
            </a:ln>
          </p:spPr>
          <p:txBody>
            <a:bodyPr/>
            <a:lstStyle/>
            <a:p>
              <a:pPr algn="ctr" defTabSz="761478" eaLnBrk="0" fontAlgn="base" hangingPunct="0">
                <a:spcBef>
                  <a:spcPct val="50000"/>
                </a:spcBef>
                <a:spcAft>
                  <a:spcPct val="0"/>
                </a:spcAft>
                <a:defRPr/>
              </a:pPr>
              <a:endParaRPr lang="en-US" sz="2177" kern="0" dirty="0">
                <a:solidFill>
                  <a:schemeClr val="bg1"/>
                </a:solidFill>
              </a:endParaRPr>
            </a:p>
          </p:txBody>
        </p:sp>
      </p:grpSp>
      <p:sp>
        <p:nvSpPr>
          <p:cNvPr id="26" name="Rectangle 25"/>
          <p:cNvSpPr/>
          <p:nvPr/>
        </p:nvSpPr>
        <p:spPr>
          <a:xfrm>
            <a:off x="4636473" y="4491167"/>
            <a:ext cx="2114893" cy="637715"/>
          </a:xfrm>
          <a:prstGeom prst="rect">
            <a:avLst/>
          </a:prstGeom>
        </p:spPr>
        <p:txBody>
          <a:bodyPr wrap="square" lIns="82909" tIns="41454" rIns="82909" bIns="41454" anchor="ctr">
            <a:spAutoFit/>
          </a:bodyPr>
          <a:lstStyle/>
          <a:p>
            <a:pPr marL="0" lvl="1" algn="just" defTabSz="945204" eaLnBrk="0" fontAlgn="base" hangingPunct="0">
              <a:spcBef>
                <a:spcPct val="0"/>
              </a:spcBef>
              <a:spcAft>
                <a:spcPct val="0"/>
              </a:spcAft>
              <a:buClr>
                <a:srgbClr val="FFE600"/>
              </a:buClr>
              <a:buSzPct val="80000"/>
            </a:pPr>
            <a:r>
              <a:rPr lang="en-US" sz="1200" b="1" dirty="0">
                <a:solidFill>
                  <a:srgbClr val="FFE600"/>
                </a:solidFill>
                <a:cs typeface="Arial"/>
              </a:rPr>
              <a:t>&gt;150 </a:t>
            </a:r>
            <a:endParaRPr lang="en-US" sz="1200" dirty="0">
              <a:solidFill>
                <a:srgbClr val="FFE600"/>
              </a:solidFill>
              <a:cs typeface="Arial"/>
            </a:endParaRPr>
          </a:p>
          <a:p>
            <a:pPr marL="0" lvl="1" algn="just" defTabSz="945204" eaLnBrk="0" fontAlgn="base" hangingPunct="0">
              <a:spcBef>
                <a:spcPct val="0"/>
              </a:spcBef>
              <a:spcAft>
                <a:spcPct val="0"/>
              </a:spcAft>
              <a:buClr>
                <a:srgbClr val="FFE600"/>
              </a:buClr>
              <a:buSzPct val="80000"/>
            </a:pPr>
            <a:r>
              <a:rPr lang="en-US" sz="1200" kern="0" dirty="0" err="1">
                <a:solidFill>
                  <a:schemeClr val="bg1"/>
                </a:solidFill>
                <a:cs typeface="Arial"/>
              </a:rPr>
              <a:t>Transaktions</a:t>
            </a:r>
            <a:r>
              <a:rPr lang="en-US" sz="1200" kern="0" dirty="0">
                <a:solidFill>
                  <a:schemeClr val="bg1"/>
                </a:solidFill>
                <a:cs typeface="Arial"/>
              </a:rPr>
              <a:t> </a:t>
            </a:r>
            <a:r>
              <a:rPr lang="en-US" sz="1200" kern="0" dirty="0" err="1">
                <a:solidFill>
                  <a:schemeClr val="bg1"/>
                </a:solidFill>
                <a:cs typeface="Arial"/>
              </a:rPr>
              <a:t>Experten</a:t>
            </a:r>
            <a:r>
              <a:rPr lang="en-US" sz="1200" kern="0" dirty="0">
                <a:solidFill>
                  <a:schemeClr val="bg1"/>
                </a:solidFill>
                <a:cs typeface="Arial"/>
              </a:rPr>
              <a:t> </a:t>
            </a:r>
          </a:p>
          <a:p>
            <a:pPr marL="0" lvl="1" algn="just" defTabSz="945204" eaLnBrk="0" fontAlgn="base" hangingPunct="0">
              <a:spcBef>
                <a:spcPct val="0"/>
              </a:spcBef>
              <a:spcAft>
                <a:spcPct val="0"/>
              </a:spcAft>
              <a:buClr>
                <a:srgbClr val="FFE600"/>
              </a:buClr>
              <a:buSzPct val="80000"/>
            </a:pPr>
            <a:r>
              <a:rPr lang="en-US" sz="1200" kern="0" dirty="0">
                <a:solidFill>
                  <a:schemeClr val="bg1"/>
                </a:solidFill>
                <a:cs typeface="Arial"/>
              </a:rPr>
              <a:t>in CH </a:t>
            </a:r>
          </a:p>
        </p:txBody>
      </p:sp>
      <p:grpSp>
        <p:nvGrpSpPr>
          <p:cNvPr id="27" name="Gruppieren 30"/>
          <p:cNvGrpSpPr>
            <a:grpSpLocks noChangeAspect="1"/>
          </p:cNvGrpSpPr>
          <p:nvPr/>
        </p:nvGrpSpPr>
        <p:grpSpPr bwMode="auto">
          <a:xfrm>
            <a:off x="4033622" y="5334432"/>
            <a:ext cx="406510" cy="365647"/>
            <a:chOff x="5922764" y="4932759"/>
            <a:chExt cx="848263" cy="764053"/>
          </a:xfrm>
        </p:grpSpPr>
        <p:sp>
          <p:nvSpPr>
            <p:cNvPr id="28" name="Freeform 63"/>
            <p:cNvSpPr>
              <a:spLocks noChangeAspect="1" noEditPoints="1"/>
            </p:cNvSpPr>
            <p:nvPr/>
          </p:nvSpPr>
          <p:spPr bwMode="auto">
            <a:xfrm>
              <a:off x="6472721" y="5337664"/>
              <a:ext cx="113415" cy="359148"/>
            </a:xfrm>
            <a:custGeom>
              <a:avLst/>
              <a:gdLst>
                <a:gd name="T0" fmla="*/ 2147483647 w 1510"/>
                <a:gd name="T1" fmla="*/ 2147483647 h 4763"/>
                <a:gd name="T2" fmla="*/ 2147483647 w 1510"/>
                <a:gd name="T3" fmla="*/ 2147483647 h 4763"/>
                <a:gd name="T4" fmla="*/ 2147483647 w 1510"/>
                <a:gd name="T5" fmla="*/ 2147483647 h 4763"/>
                <a:gd name="T6" fmla="*/ 2147483647 w 1510"/>
                <a:gd name="T7" fmla="*/ 2147483647 h 4763"/>
                <a:gd name="T8" fmla="*/ 2147483647 w 1510"/>
                <a:gd name="T9" fmla="*/ 2147483647 h 4763"/>
                <a:gd name="T10" fmla="*/ 2147483647 w 1510"/>
                <a:gd name="T11" fmla="*/ 2147483647 h 4763"/>
                <a:gd name="T12" fmla="*/ 2147483647 w 1510"/>
                <a:gd name="T13" fmla="*/ 2147483647 h 4763"/>
                <a:gd name="T14" fmla="*/ 2147483647 w 1510"/>
                <a:gd name="T15" fmla="*/ 2147483647 h 4763"/>
                <a:gd name="T16" fmla="*/ 2147483647 w 1510"/>
                <a:gd name="T17" fmla="*/ 2147483647 h 4763"/>
                <a:gd name="T18" fmla="*/ 2147483647 w 1510"/>
                <a:gd name="T19" fmla="*/ 2147483647 h 4763"/>
                <a:gd name="T20" fmla="*/ 2147483647 w 1510"/>
                <a:gd name="T21" fmla="*/ 2147483647 h 4763"/>
                <a:gd name="T22" fmla="*/ 2147483647 w 1510"/>
                <a:gd name="T23" fmla="*/ 2147483647 h 4763"/>
                <a:gd name="T24" fmla="*/ 2147483647 w 1510"/>
                <a:gd name="T25" fmla="*/ 2147483647 h 4763"/>
                <a:gd name="T26" fmla="*/ 2147483647 w 1510"/>
                <a:gd name="T27" fmla="*/ 2147483647 h 4763"/>
                <a:gd name="T28" fmla="*/ 2147483647 w 1510"/>
                <a:gd name="T29" fmla="*/ 2147483647 h 4763"/>
                <a:gd name="T30" fmla="*/ 2147483647 w 1510"/>
                <a:gd name="T31" fmla="*/ 2147483647 h 4763"/>
                <a:gd name="T32" fmla="*/ 2147483647 w 1510"/>
                <a:gd name="T33" fmla="*/ 2147483647 h 4763"/>
                <a:gd name="T34" fmla="*/ 2147483647 w 1510"/>
                <a:gd name="T35" fmla="*/ 2147483647 h 4763"/>
                <a:gd name="T36" fmla="*/ 2147483647 w 1510"/>
                <a:gd name="T37" fmla="*/ 2147483647 h 4763"/>
                <a:gd name="T38" fmla="*/ 2147483647 w 1510"/>
                <a:gd name="T39" fmla="*/ 2147483647 h 4763"/>
                <a:gd name="T40" fmla="*/ 2147483647 w 1510"/>
                <a:gd name="T41" fmla="*/ 2147483647 h 4763"/>
                <a:gd name="T42" fmla="*/ 2147483647 w 1510"/>
                <a:gd name="T43" fmla="*/ 2147483647 h 4763"/>
                <a:gd name="T44" fmla="*/ 2147483647 w 1510"/>
                <a:gd name="T45" fmla="*/ 2147483647 h 4763"/>
                <a:gd name="T46" fmla="*/ 2147483647 w 1510"/>
                <a:gd name="T47" fmla="*/ 2147483647 h 4763"/>
                <a:gd name="T48" fmla="*/ 2147483647 w 1510"/>
                <a:gd name="T49" fmla="*/ 2147483647 h 4763"/>
                <a:gd name="T50" fmla="*/ 2147483647 w 1510"/>
                <a:gd name="T51" fmla="*/ 2147483647 h 4763"/>
                <a:gd name="T52" fmla="*/ 2147483647 w 1510"/>
                <a:gd name="T53" fmla="*/ 2147483647 h 4763"/>
                <a:gd name="T54" fmla="*/ 2147483647 w 1510"/>
                <a:gd name="T55" fmla="*/ 2147483647 h 4763"/>
                <a:gd name="T56" fmla="*/ 2147483647 w 1510"/>
                <a:gd name="T57" fmla="*/ 2147483647 h 4763"/>
                <a:gd name="T58" fmla="*/ 2147483647 w 1510"/>
                <a:gd name="T59" fmla="*/ 2147483647 h 4763"/>
                <a:gd name="T60" fmla="*/ 2147483647 w 1510"/>
                <a:gd name="T61" fmla="*/ 2147483647 h 4763"/>
                <a:gd name="T62" fmla="*/ 2147483647 w 1510"/>
                <a:gd name="T63" fmla="*/ 2147483647 h 4763"/>
                <a:gd name="T64" fmla="*/ 2147483647 w 1510"/>
                <a:gd name="T65" fmla="*/ 2147483647 h 4763"/>
                <a:gd name="T66" fmla="*/ 2147483647 w 1510"/>
                <a:gd name="T67" fmla="*/ 2147483647 h 4763"/>
                <a:gd name="T68" fmla="*/ 2147483647 w 1510"/>
                <a:gd name="T69" fmla="*/ 2147483647 h 4763"/>
                <a:gd name="T70" fmla="*/ 2147483647 w 1510"/>
                <a:gd name="T71" fmla="*/ 2147483647 h 4763"/>
                <a:gd name="T72" fmla="*/ 2147483647 w 1510"/>
                <a:gd name="T73" fmla="*/ 2147483647 h 4763"/>
                <a:gd name="T74" fmla="*/ 2147483647 w 1510"/>
                <a:gd name="T75" fmla="*/ 2147483647 h 4763"/>
                <a:gd name="T76" fmla="*/ 2147483647 w 1510"/>
                <a:gd name="T77" fmla="*/ 2147483647 h 4763"/>
                <a:gd name="T78" fmla="*/ 2147483647 w 1510"/>
                <a:gd name="T79" fmla="*/ 2147483647 h 4763"/>
                <a:gd name="T80" fmla="*/ 2147483647 w 1510"/>
                <a:gd name="T81" fmla="*/ 2147483647 h 4763"/>
                <a:gd name="T82" fmla="*/ 2147483647 w 1510"/>
                <a:gd name="T83" fmla="*/ 2147483647 h 4763"/>
                <a:gd name="T84" fmla="*/ 2147483647 w 1510"/>
                <a:gd name="T85" fmla="*/ 2147483647 h 4763"/>
                <a:gd name="T86" fmla="*/ 2147483647 w 1510"/>
                <a:gd name="T87" fmla="*/ 2147483647 h 4763"/>
                <a:gd name="T88" fmla="*/ 2147483647 w 1510"/>
                <a:gd name="T89" fmla="*/ 2147483647 h 4763"/>
                <a:gd name="T90" fmla="*/ 2147483647 w 1510"/>
                <a:gd name="T91" fmla="*/ 2147483647 h 4763"/>
                <a:gd name="T92" fmla="*/ 2147483647 w 1510"/>
                <a:gd name="T93" fmla="*/ 2147483647 h 4763"/>
                <a:gd name="T94" fmla="*/ 2147483647 w 1510"/>
                <a:gd name="T95" fmla="*/ 2147483647 h 4763"/>
                <a:gd name="T96" fmla="*/ 2147483647 w 1510"/>
                <a:gd name="T97" fmla="*/ 2147483647 h 4763"/>
                <a:gd name="T98" fmla="*/ 2147483647 w 1510"/>
                <a:gd name="T99" fmla="*/ 2147483647 h 4763"/>
                <a:gd name="T100" fmla="*/ 2147483647 w 1510"/>
                <a:gd name="T101" fmla="*/ 2147483647 h 4763"/>
                <a:gd name="T102" fmla="*/ 2147483647 w 1510"/>
                <a:gd name="T103" fmla="*/ 2147483647 h 4763"/>
                <a:gd name="T104" fmla="*/ 2147483647 w 1510"/>
                <a:gd name="T105" fmla="*/ 2147483647 h 4763"/>
                <a:gd name="T106" fmla="*/ 2147483647 w 1510"/>
                <a:gd name="T107" fmla="*/ 2147483647 h 4763"/>
                <a:gd name="T108" fmla="*/ 2147483647 w 1510"/>
                <a:gd name="T109" fmla="*/ 2147483647 h 4763"/>
                <a:gd name="T110" fmla="*/ 2147483647 w 1510"/>
                <a:gd name="T111" fmla="*/ 2147483647 h 4763"/>
                <a:gd name="T112" fmla="*/ 2147483647 w 1510"/>
                <a:gd name="T113" fmla="*/ 2147483647 h 4763"/>
                <a:gd name="T114" fmla="*/ 2147483647 w 1510"/>
                <a:gd name="T115" fmla="*/ 2147483647 h 4763"/>
                <a:gd name="T116" fmla="*/ 2147483647 w 1510"/>
                <a:gd name="T117" fmla="*/ 2147483647 h 4763"/>
                <a:gd name="T118" fmla="*/ 2147483647 w 1510"/>
                <a:gd name="T119" fmla="*/ 2147483647 h 4763"/>
                <a:gd name="T120" fmla="*/ 2147483647 w 1510"/>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10"/>
                <a:gd name="T184" fmla="*/ 0 h 4763"/>
                <a:gd name="T185" fmla="*/ 1510 w 1510"/>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10" h="4763">
                  <a:moveTo>
                    <a:pt x="544" y="802"/>
                  </a:moveTo>
                  <a:lnTo>
                    <a:pt x="749" y="1234"/>
                  </a:lnTo>
                  <a:lnTo>
                    <a:pt x="951" y="806"/>
                  </a:lnTo>
                  <a:lnTo>
                    <a:pt x="1157" y="841"/>
                  </a:lnTo>
                  <a:lnTo>
                    <a:pt x="1184" y="846"/>
                  </a:lnTo>
                  <a:lnTo>
                    <a:pt x="1212" y="852"/>
                  </a:lnTo>
                  <a:lnTo>
                    <a:pt x="1238" y="860"/>
                  </a:lnTo>
                  <a:lnTo>
                    <a:pt x="1264" y="870"/>
                  </a:lnTo>
                  <a:lnTo>
                    <a:pt x="1287" y="879"/>
                  </a:lnTo>
                  <a:lnTo>
                    <a:pt x="1311" y="892"/>
                  </a:lnTo>
                  <a:lnTo>
                    <a:pt x="1333" y="907"/>
                  </a:lnTo>
                  <a:lnTo>
                    <a:pt x="1353" y="922"/>
                  </a:lnTo>
                  <a:lnTo>
                    <a:pt x="1371" y="941"/>
                  </a:lnTo>
                  <a:lnTo>
                    <a:pt x="1388" y="960"/>
                  </a:lnTo>
                  <a:lnTo>
                    <a:pt x="1403" y="984"/>
                  </a:lnTo>
                  <a:lnTo>
                    <a:pt x="1414" y="1007"/>
                  </a:lnTo>
                  <a:lnTo>
                    <a:pt x="1423" y="1034"/>
                  </a:lnTo>
                  <a:lnTo>
                    <a:pt x="1432" y="1065"/>
                  </a:lnTo>
                  <a:lnTo>
                    <a:pt x="1436" y="1096"/>
                  </a:lnTo>
                  <a:lnTo>
                    <a:pt x="1437" y="1131"/>
                  </a:lnTo>
                  <a:lnTo>
                    <a:pt x="1437" y="2330"/>
                  </a:lnTo>
                  <a:lnTo>
                    <a:pt x="1301" y="2735"/>
                  </a:lnTo>
                  <a:lnTo>
                    <a:pt x="1510" y="3779"/>
                  </a:lnTo>
                  <a:lnTo>
                    <a:pt x="1157" y="3779"/>
                  </a:lnTo>
                  <a:lnTo>
                    <a:pt x="1021" y="4763"/>
                  </a:lnTo>
                  <a:lnTo>
                    <a:pt x="910" y="4763"/>
                  </a:lnTo>
                  <a:lnTo>
                    <a:pt x="1046" y="3779"/>
                  </a:lnTo>
                  <a:lnTo>
                    <a:pt x="787" y="3779"/>
                  </a:lnTo>
                  <a:lnTo>
                    <a:pt x="782" y="4763"/>
                  </a:lnTo>
                  <a:lnTo>
                    <a:pt x="727" y="4763"/>
                  </a:lnTo>
                  <a:lnTo>
                    <a:pt x="732" y="3779"/>
                  </a:lnTo>
                  <a:lnTo>
                    <a:pt x="464" y="3779"/>
                  </a:lnTo>
                  <a:lnTo>
                    <a:pt x="599" y="4763"/>
                  </a:lnTo>
                  <a:lnTo>
                    <a:pt x="488" y="4763"/>
                  </a:lnTo>
                  <a:lnTo>
                    <a:pt x="353" y="3779"/>
                  </a:lnTo>
                  <a:lnTo>
                    <a:pt x="0" y="3779"/>
                  </a:lnTo>
                  <a:lnTo>
                    <a:pt x="213" y="2737"/>
                  </a:lnTo>
                  <a:lnTo>
                    <a:pt x="73" y="2331"/>
                  </a:lnTo>
                  <a:lnTo>
                    <a:pt x="73" y="1131"/>
                  </a:lnTo>
                  <a:lnTo>
                    <a:pt x="74" y="1098"/>
                  </a:lnTo>
                  <a:lnTo>
                    <a:pt x="78" y="1066"/>
                  </a:lnTo>
                  <a:lnTo>
                    <a:pt x="84" y="1037"/>
                  </a:lnTo>
                  <a:lnTo>
                    <a:pt x="93" y="1011"/>
                  </a:lnTo>
                  <a:lnTo>
                    <a:pt x="104" y="988"/>
                  </a:lnTo>
                  <a:lnTo>
                    <a:pt x="118" y="966"/>
                  </a:lnTo>
                  <a:lnTo>
                    <a:pt x="133" y="947"/>
                  </a:lnTo>
                  <a:lnTo>
                    <a:pt x="151" y="929"/>
                  </a:lnTo>
                  <a:lnTo>
                    <a:pt x="170" y="912"/>
                  </a:lnTo>
                  <a:lnTo>
                    <a:pt x="191" y="898"/>
                  </a:lnTo>
                  <a:lnTo>
                    <a:pt x="213" y="886"/>
                  </a:lnTo>
                  <a:lnTo>
                    <a:pt x="236" y="875"/>
                  </a:lnTo>
                  <a:lnTo>
                    <a:pt x="260" y="866"/>
                  </a:lnTo>
                  <a:lnTo>
                    <a:pt x="284" y="857"/>
                  </a:lnTo>
                  <a:lnTo>
                    <a:pt x="311" y="850"/>
                  </a:lnTo>
                  <a:lnTo>
                    <a:pt x="337" y="845"/>
                  </a:lnTo>
                  <a:lnTo>
                    <a:pt x="544" y="802"/>
                  </a:lnTo>
                  <a:close/>
                  <a:moveTo>
                    <a:pt x="956" y="919"/>
                  </a:moveTo>
                  <a:lnTo>
                    <a:pt x="747" y="1360"/>
                  </a:lnTo>
                  <a:lnTo>
                    <a:pt x="536" y="915"/>
                  </a:lnTo>
                  <a:lnTo>
                    <a:pt x="365" y="945"/>
                  </a:lnTo>
                  <a:lnTo>
                    <a:pt x="348" y="949"/>
                  </a:lnTo>
                  <a:lnTo>
                    <a:pt x="330" y="953"/>
                  </a:lnTo>
                  <a:lnTo>
                    <a:pt x="312" y="959"/>
                  </a:lnTo>
                  <a:lnTo>
                    <a:pt x="295" y="966"/>
                  </a:lnTo>
                  <a:lnTo>
                    <a:pt x="279" y="973"/>
                  </a:lnTo>
                  <a:lnTo>
                    <a:pt x="264" y="981"/>
                  </a:lnTo>
                  <a:lnTo>
                    <a:pt x="250" y="991"/>
                  </a:lnTo>
                  <a:lnTo>
                    <a:pt x="236" y="1002"/>
                  </a:lnTo>
                  <a:lnTo>
                    <a:pt x="225" y="1012"/>
                  </a:lnTo>
                  <a:lnTo>
                    <a:pt x="214" y="1026"/>
                  </a:lnTo>
                  <a:lnTo>
                    <a:pt x="205" y="1040"/>
                  </a:lnTo>
                  <a:lnTo>
                    <a:pt x="196" y="1056"/>
                  </a:lnTo>
                  <a:lnTo>
                    <a:pt x="191" y="1073"/>
                  </a:lnTo>
                  <a:lnTo>
                    <a:pt x="185" y="1091"/>
                  </a:lnTo>
                  <a:lnTo>
                    <a:pt x="183" y="1110"/>
                  </a:lnTo>
                  <a:lnTo>
                    <a:pt x="183" y="1131"/>
                  </a:lnTo>
                  <a:lnTo>
                    <a:pt x="183" y="2253"/>
                  </a:lnTo>
                  <a:lnTo>
                    <a:pt x="361" y="2253"/>
                  </a:lnTo>
                  <a:lnTo>
                    <a:pt x="404" y="2069"/>
                  </a:lnTo>
                  <a:lnTo>
                    <a:pt x="404" y="1504"/>
                  </a:lnTo>
                  <a:lnTo>
                    <a:pt x="334" y="1184"/>
                  </a:lnTo>
                  <a:lnTo>
                    <a:pt x="387" y="1172"/>
                  </a:lnTo>
                  <a:lnTo>
                    <a:pt x="459" y="1499"/>
                  </a:lnTo>
                  <a:lnTo>
                    <a:pt x="459" y="2072"/>
                  </a:lnTo>
                  <a:lnTo>
                    <a:pt x="1050" y="2072"/>
                  </a:lnTo>
                  <a:lnTo>
                    <a:pt x="1050" y="1499"/>
                  </a:lnTo>
                  <a:lnTo>
                    <a:pt x="1123" y="1172"/>
                  </a:lnTo>
                  <a:lnTo>
                    <a:pt x="1176" y="1184"/>
                  </a:lnTo>
                  <a:lnTo>
                    <a:pt x="1105" y="1504"/>
                  </a:lnTo>
                  <a:lnTo>
                    <a:pt x="1105" y="2069"/>
                  </a:lnTo>
                  <a:lnTo>
                    <a:pt x="1147" y="2253"/>
                  </a:lnTo>
                  <a:lnTo>
                    <a:pt x="1327" y="2253"/>
                  </a:lnTo>
                  <a:lnTo>
                    <a:pt x="1327" y="1131"/>
                  </a:lnTo>
                  <a:lnTo>
                    <a:pt x="1326" y="1110"/>
                  </a:lnTo>
                  <a:lnTo>
                    <a:pt x="1323" y="1092"/>
                  </a:lnTo>
                  <a:lnTo>
                    <a:pt x="1319" y="1073"/>
                  </a:lnTo>
                  <a:lnTo>
                    <a:pt x="1314" y="1056"/>
                  </a:lnTo>
                  <a:lnTo>
                    <a:pt x="1305" y="1041"/>
                  </a:lnTo>
                  <a:lnTo>
                    <a:pt x="1297" y="1028"/>
                  </a:lnTo>
                  <a:lnTo>
                    <a:pt x="1286" y="1014"/>
                  </a:lnTo>
                  <a:lnTo>
                    <a:pt x="1275" y="1002"/>
                  </a:lnTo>
                  <a:lnTo>
                    <a:pt x="1263" y="992"/>
                  </a:lnTo>
                  <a:lnTo>
                    <a:pt x="1249" y="982"/>
                  </a:lnTo>
                  <a:lnTo>
                    <a:pt x="1234" y="973"/>
                  </a:lnTo>
                  <a:lnTo>
                    <a:pt x="1219" y="966"/>
                  </a:lnTo>
                  <a:lnTo>
                    <a:pt x="1202" y="959"/>
                  </a:lnTo>
                  <a:lnTo>
                    <a:pt x="1186" y="955"/>
                  </a:lnTo>
                  <a:lnTo>
                    <a:pt x="1169" y="951"/>
                  </a:lnTo>
                  <a:lnTo>
                    <a:pt x="1151" y="947"/>
                  </a:lnTo>
                  <a:lnTo>
                    <a:pt x="956" y="919"/>
                  </a:lnTo>
                  <a:close/>
                  <a:moveTo>
                    <a:pt x="349" y="2308"/>
                  </a:moveTo>
                  <a:lnTo>
                    <a:pt x="183" y="2308"/>
                  </a:lnTo>
                  <a:lnTo>
                    <a:pt x="183" y="2311"/>
                  </a:lnTo>
                  <a:lnTo>
                    <a:pt x="282" y="2595"/>
                  </a:lnTo>
                  <a:lnTo>
                    <a:pt x="349" y="2308"/>
                  </a:lnTo>
                  <a:close/>
                  <a:moveTo>
                    <a:pt x="1327" y="2308"/>
                  </a:moveTo>
                  <a:lnTo>
                    <a:pt x="1160" y="2308"/>
                  </a:lnTo>
                  <a:lnTo>
                    <a:pt x="1227" y="2607"/>
                  </a:lnTo>
                  <a:lnTo>
                    <a:pt x="1327" y="2311"/>
                  </a:lnTo>
                  <a:lnTo>
                    <a:pt x="1327" y="2308"/>
                  </a:lnTo>
                  <a:close/>
                  <a:moveTo>
                    <a:pt x="1085" y="372"/>
                  </a:moveTo>
                  <a:lnTo>
                    <a:pt x="1085" y="445"/>
                  </a:lnTo>
                  <a:lnTo>
                    <a:pt x="1084" y="473"/>
                  </a:lnTo>
                  <a:lnTo>
                    <a:pt x="1081" y="496"/>
                  </a:lnTo>
                  <a:lnTo>
                    <a:pt x="1079" y="506"/>
                  </a:lnTo>
                  <a:lnTo>
                    <a:pt x="1076" y="515"/>
                  </a:lnTo>
                  <a:lnTo>
                    <a:pt x="1072" y="522"/>
                  </a:lnTo>
                  <a:lnTo>
                    <a:pt x="1068" y="529"/>
                  </a:lnTo>
                  <a:lnTo>
                    <a:pt x="1063" y="534"/>
                  </a:lnTo>
                  <a:lnTo>
                    <a:pt x="1058" y="540"/>
                  </a:lnTo>
                  <a:lnTo>
                    <a:pt x="1052" y="544"/>
                  </a:lnTo>
                  <a:lnTo>
                    <a:pt x="1047" y="547"/>
                  </a:lnTo>
                  <a:lnTo>
                    <a:pt x="1033" y="551"/>
                  </a:lnTo>
                  <a:lnTo>
                    <a:pt x="1018" y="552"/>
                  </a:lnTo>
                  <a:lnTo>
                    <a:pt x="1010" y="577"/>
                  </a:lnTo>
                  <a:lnTo>
                    <a:pt x="1025" y="587"/>
                  </a:lnTo>
                  <a:lnTo>
                    <a:pt x="1041" y="596"/>
                  </a:lnTo>
                  <a:lnTo>
                    <a:pt x="1058" y="603"/>
                  </a:lnTo>
                  <a:lnTo>
                    <a:pt x="1074" y="609"/>
                  </a:lnTo>
                  <a:lnTo>
                    <a:pt x="1092" y="614"/>
                  </a:lnTo>
                  <a:lnTo>
                    <a:pt x="1112" y="617"/>
                  </a:lnTo>
                  <a:lnTo>
                    <a:pt x="1129" y="618"/>
                  </a:lnTo>
                  <a:lnTo>
                    <a:pt x="1149" y="617"/>
                  </a:lnTo>
                  <a:lnTo>
                    <a:pt x="1151" y="617"/>
                  </a:lnTo>
                  <a:lnTo>
                    <a:pt x="1149" y="631"/>
                  </a:lnTo>
                  <a:lnTo>
                    <a:pt x="1146" y="643"/>
                  </a:lnTo>
                  <a:lnTo>
                    <a:pt x="1140" y="654"/>
                  </a:lnTo>
                  <a:lnTo>
                    <a:pt x="1135" y="666"/>
                  </a:lnTo>
                  <a:lnTo>
                    <a:pt x="1128" y="677"/>
                  </a:lnTo>
                  <a:lnTo>
                    <a:pt x="1120" y="687"/>
                  </a:lnTo>
                  <a:lnTo>
                    <a:pt x="1112" y="697"/>
                  </a:lnTo>
                  <a:lnTo>
                    <a:pt x="1102" y="706"/>
                  </a:lnTo>
                  <a:lnTo>
                    <a:pt x="1091" y="714"/>
                  </a:lnTo>
                  <a:lnTo>
                    <a:pt x="1080" y="721"/>
                  </a:lnTo>
                  <a:lnTo>
                    <a:pt x="1068" y="728"/>
                  </a:lnTo>
                  <a:lnTo>
                    <a:pt x="1055" y="734"/>
                  </a:lnTo>
                  <a:lnTo>
                    <a:pt x="1041" y="739"/>
                  </a:lnTo>
                  <a:lnTo>
                    <a:pt x="1028" y="743"/>
                  </a:lnTo>
                  <a:lnTo>
                    <a:pt x="1014" y="746"/>
                  </a:lnTo>
                  <a:lnTo>
                    <a:pt x="999" y="747"/>
                  </a:lnTo>
                  <a:lnTo>
                    <a:pt x="984" y="747"/>
                  </a:lnTo>
                  <a:lnTo>
                    <a:pt x="970" y="747"/>
                  </a:lnTo>
                  <a:lnTo>
                    <a:pt x="958" y="746"/>
                  </a:lnTo>
                  <a:lnTo>
                    <a:pt x="944" y="743"/>
                  </a:lnTo>
                  <a:lnTo>
                    <a:pt x="930" y="740"/>
                  </a:lnTo>
                  <a:lnTo>
                    <a:pt x="918" y="736"/>
                  </a:lnTo>
                  <a:lnTo>
                    <a:pt x="905" y="732"/>
                  </a:lnTo>
                  <a:lnTo>
                    <a:pt x="893" y="727"/>
                  </a:lnTo>
                  <a:lnTo>
                    <a:pt x="878" y="736"/>
                  </a:lnTo>
                  <a:lnTo>
                    <a:pt x="861" y="743"/>
                  </a:lnTo>
                  <a:lnTo>
                    <a:pt x="846" y="750"/>
                  </a:lnTo>
                  <a:lnTo>
                    <a:pt x="829" y="757"/>
                  </a:lnTo>
                  <a:lnTo>
                    <a:pt x="812" y="761"/>
                  </a:lnTo>
                  <a:lnTo>
                    <a:pt x="794" y="764"/>
                  </a:lnTo>
                  <a:lnTo>
                    <a:pt x="776" y="767"/>
                  </a:lnTo>
                  <a:lnTo>
                    <a:pt x="757" y="767"/>
                  </a:lnTo>
                  <a:lnTo>
                    <a:pt x="738" y="767"/>
                  </a:lnTo>
                  <a:lnTo>
                    <a:pt x="719" y="764"/>
                  </a:lnTo>
                  <a:lnTo>
                    <a:pt x="699" y="760"/>
                  </a:lnTo>
                  <a:lnTo>
                    <a:pt x="681" y="756"/>
                  </a:lnTo>
                  <a:lnTo>
                    <a:pt x="664" y="749"/>
                  </a:lnTo>
                  <a:lnTo>
                    <a:pt x="646" y="740"/>
                  </a:lnTo>
                  <a:lnTo>
                    <a:pt x="629" y="732"/>
                  </a:lnTo>
                  <a:lnTo>
                    <a:pt x="614" y="721"/>
                  </a:lnTo>
                  <a:lnTo>
                    <a:pt x="600" y="728"/>
                  </a:lnTo>
                  <a:lnTo>
                    <a:pt x="587" y="734"/>
                  </a:lnTo>
                  <a:lnTo>
                    <a:pt x="573" y="739"/>
                  </a:lnTo>
                  <a:lnTo>
                    <a:pt x="559" y="742"/>
                  </a:lnTo>
                  <a:lnTo>
                    <a:pt x="544" y="745"/>
                  </a:lnTo>
                  <a:lnTo>
                    <a:pt x="529" y="747"/>
                  </a:lnTo>
                  <a:lnTo>
                    <a:pt x="514" y="747"/>
                  </a:lnTo>
                  <a:lnTo>
                    <a:pt x="499" y="747"/>
                  </a:lnTo>
                  <a:lnTo>
                    <a:pt x="484" y="746"/>
                  </a:lnTo>
                  <a:lnTo>
                    <a:pt x="469" y="743"/>
                  </a:lnTo>
                  <a:lnTo>
                    <a:pt x="455" y="739"/>
                  </a:lnTo>
                  <a:lnTo>
                    <a:pt x="441" y="734"/>
                  </a:lnTo>
                  <a:lnTo>
                    <a:pt x="429" y="728"/>
                  </a:lnTo>
                  <a:lnTo>
                    <a:pt x="416" y="721"/>
                  </a:lnTo>
                  <a:lnTo>
                    <a:pt x="405" y="714"/>
                  </a:lnTo>
                  <a:lnTo>
                    <a:pt x="394" y="706"/>
                  </a:lnTo>
                  <a:lnTo>
                    <a:pt x="385" y="697"/>
                  </a:lnTo>
                  <a:lnTo>
                    <a:pt x="376" y="687"/>
                  </a:lnTo>
                  <a:lnTo>
                    <a:pt x="368" y="677"/>
                  </a:lnTo>
                  <a:lnTo>
                    <a:pt x="361" y="666"/>
                  </a:lnTo>
                  <a:lnTo>
                    <a:pt x="356" y="654"/>
                  </a:lnTo>
                  <a:lnTo>
                    <a:pt x="352" y="643"/>
                  </a:lnTo>
                  <a:lnTo>
                    <a:pt x="348" y="631"/>
                  </a:lnTo>
                  <a:lnTo>
                    <a:pt x="345" y="617"/>
                  </a:lnTo>
                  <a:lnTo>
                    <a:pt x="348" y="617"/>
                  </a:lnTo>
                  <a:lnTo>
                    <a:pt x="370" y="618"/>
                  </a:lnTo>
                  <a:lnTo>
                    <a:pt x="390" y="615"/>
                  </a:lnTo>
                  <a:lnTo>
                    <a:pt x="411" y="613"/>
                  </a:lnTo>
                  <a:lnTo>
                    <a:pt x="430" y="606"/>
                  </a:lnTo>
                  <a:lnTo>
                    <a:pt x="449" y="599"/>
                  </a:lnTo>
                  <a:lnTo>
                    <a:pt x="469" y="589"/>
                  </a:lnTo>
                  <a:lnTo>
                    <a:pt x="485" y="578"/>
                  </a:lnTo>
                  <a:lnTo>
                    <a:pt x="500" y="566"/>
                  </a:lnTo>
                  <a:lnTo>
                    <a:pt x="496" y="552"/>
                  </a:lnTo>
                  <a:lnTo>
                    <a:pt x="478" y="552"/>
                  </a:lnTo>
                  <a:lnTo>
                    <a:pt x="469" y="552"/>
                  </a:lnTo>
                  <a:lnTo>
                    <a:pt x="462" y="551"/>
                  </a:lnTo>
                  <a:lnTo>
                    <a:pt x="453" y="548"/>
                  </a:lnTo>
                  <a:lnTo>
                    <a:pt x="447" y="544"/>
                  </a:lnTo>
                  <a:lnTo>
                    <a:pt x="440" y="540"/>
                  </a:lnTo>
                  <a:lnTo>
                    <a:pt x="434" y="534"/>
                  </a:lnTo>
                  <a:lnTo>
                    <a:pt x="430" y="529"/>
                  </a:lnTo>
                  <a:lnTo>
                    <a:pt x="425" y="521"/>
                  </a:lnTo>
                  <a:lnTo>
                    <a:pt x="422" y="511"/>
                  </a:lnTo>
                  <a:lnTo>
                    <a:pt x="418" y="501"/>
                  </a:lnTo>
                  <a:lnTo>
                    <a:pt x="416" y="489"/>
                  </a:lnTo>
                  <a:lnTo>
                    <a:pt x="414" y="477"/>
                  </a:lnTo>
                  <a:lnTo>
                    <a:pt x="412" y="445"/>
                  </a:lnTo>
                  <a:lnTo>
                    <a:pt x="412" y="372"/>
                  </a:lnTo>
                  <a:lnTo>
                    <a:pt x="412" y="353"/>
                  </a:lnTo>
                  <a:lnTo>
                    <a:pt x="414" y="335"/>
                  </a:lnTo>
                  <a:lnTo>
                    <a:pt x="419" y="299"/>
                  </a:lnTo>
                  <a:lnTo>
                    <a:pt x="427" y="264"/>
                  </a:lnTo>
                  <a:lnTo>
                    <a:pt x="438" y="231"/>
                  </a:lnTo>
                  <a:lnTo>
                    <a:pt x="452" y="198"/>
                  </a:lnTo>
                  <a:lnTo>
                    <a:pt x="469" y="168"/>
                  </a:lnTo>
                  <a:lnTo>
                    <a:pt x="486" y="139"/>
                  </a:lnTo>
                  <a:lnTo>
                    <a:pt x="508" y="113"/>
                  </a:lnTo>
                  <a:lnTo>
                    <a:pt x="532" y="88"/>
                  </a:lnTo>
                  <a:lnTo>
                    <a:pt x="544" y="77"/>
                  </a:lnTo>
                  <a:lnTo>
                    <a:pt x="558" y="66"/>
                  </a:lnTo>
                  <a:lnTo>
                    <a:pt x="572" y="56"/>
                  </a:lnTo>
                  <a:lnTo>
                    <a:pt x="585" y="47"/>
                  </a:lnTo>
                  <a:lnTo>
                    <a:pt x="600" y="38"/>
                  </a:lnTo>
                  <a:lnTo>
                    <a:pt x="616" y="30"/>
                  </a:lnTo>
                  <a:lnTo>
                    <a:pt x="631" y="23"/>
                  </a:lnTo>
                  <a:lnTo>
                    <a:pt x="646" y="18"/>
                  </a:lnTo>
                  <a:lnTo>
                    <a:pt x="662" y="12"/>
                  </a:lnTo>
                  <a:lnTo>
                    <a:pt x="679" y="8"/>
                  </a:lnTo>
                  <a:lnTo>
                    <a:pt x="697" y="5"/>
                  </a:lnTo>
                  <a:lnTo>
                    <a:pt x="713" y="3"/>
                  </a:lnTo>
                  <a:lnTo>
                    <a:pt x="731" y="1"/>
                  </a:lnTo>
                  <a:lnTo>
                    <a:pt x="749" y="0"/>
                  </a:lnTo>
                  <a:lnTo>
                    <a:pt x="767" y="1"/>
                  </a:lnTo>
                  <a:lnTo>
                    <a:pt x="785" y="3"/>
                  </a:lnTo>
                  <a:lnTo>
                    <a:pt x="801" y="5"/>
                  </a:lnTo>
                  <a:lnTo>
                    <a:pt x="819" y="8"/>
                  </a:lnTo>
                  <a:lnTo>
                    <a:pt x="835" y="12"/>
                  </a:lnTo>
                  <a:lnTo>
                    <a:pt x="852" y="18"/>
                  </a:lnTo>
                  <a:lnTo>
                    <a:pt x="867" y="23"/>
                  </a:lnTo>
                  <a:lnTo>
                    <a:pt x="882" y="30"/>
                  </a:lnTo>
                  <a:lnTo>
                    <a:pt x="897" y="38"/>
                  </a:lnTo>
                  <a:lnTo>
                    <a:pt x="912" y="47"/>
                  </a:lnTo>
                  <a:lnTo>
                    <a:pt x="926" y="56"/>
                  </a:lnTo>
                  <a:lnTo>
                    <a:pt x="940" y="66"/>
                  </a:lnTo>
                  <a:lnTo>
                    <a:pt x="954" y="77"/>
                  </a:lnTo>
                  <a:lnTo>
                    <a:pt x="966" y="88"/>
                  </a:lnTo>
                  <a:lnTo>
                    <a:pt x="989" y="113"/>
                  </a:lnTo>
                  <a:lnTo>
                    <a:pt x="1011" y="139"/>
                  </a:lnTo>
                  <a:lnTo>
                    <a:pt x="1029" y="168"/>
                  </a:lnTo>
                  <a:lnTo>
                    <a:pt x="1046" y="198"/>
                  </a:lnTo>
                  <a:lnTo>
                    <a:pt x="1059" y="231"/>
                  </a:lnTo>
                  <a:lnTo>
                    <a:pt x="1070" y="264"/>
                  </a:lnTo>
                  <a:lnTo>
                    <a:pt x="1079" y="299"/>
                  </a:lnTo>
                  <a:lnTo>
                    <a:pt x="1084" y="335"/>
                  </a:lnTo>
                  <a:lnTo>
                    <a:pt x="1085" y="353"/>
                  </a:lnTo>
                  <a:lnTo>
                    <a:pt x="1085" y="372"/>
                  </a:lnTo>
                  <a:close/>
                  <a:moveTo>
                    <a:pt x="911" y="199"/>
                  </a:moveTo>
                  <a:lnTo>
                    <a:pt x="911" y="199"/>
                  </a:lnTo>
                  <a:lnTo>
                    <a:pt x="925" y="217"/>
                  </a:lnTo>
                  <a:lnTo>
                    <a:pt x="938" y="236"/>
                  </a:lnTo>
                  <a:lnTo>
                    <a:pt x="948" y="257"/>
                  </a:lnTo>
                  <a:lnTo>
                    <a:pt x="958" y="278"/>
                  </a:lnTo>
                  <a:lnTo>
                    <a:pt x="966" y="301"/>
                  </a:lnTo>
                  <a:lnTo>
                    <a:pt x="971" y="326"/>
                  </a:lnTo>
                  <a:lnTo>
                    <a:pt x="974" y="350"/>
                  </a:lnTo>
                  <a:lnTo>
                    <a:pt x="976" y="376"/>
                  </a:lnTo>
                  <a:lnTo>
                    <a:pt x="976" y="463"/>
                  </a:lnTo>
                  <a:lnTo>
                    <a:pt x="974" y="489"/>
                  </a:lnTo>
                  <a:lnTo>
                    <a:pt x="970" y="514"/>
                  </a:lnTo>
                  <a:lnTo>
                    <a:pt x="965" y="539"/>
                  </a:lnTo>
                  <a:lnTo>
                    <a:pt x="958" y="561"/>
                  </a:lnTo>
                  <a:lnTo>
                    <a:pt x="948" y="582"/>
                  </a:lnTo>
                  <a:lnTo>
                    <a:pt x="937" y="603"/>
                  </a:lnTo>
                  <a:lnTo>
                    <a:pt x="925" y="622"/>
                  </a:lnTo>
                  <a:lnTo>
                    <a:pt x="911" y="640"/>
                  </a:lnTo>
                  <a:lnTo>
                    <a:pt x="894" y="657"/>
                  </a:lnTo>
                  <a:lnTo>
                    <a:pt x="878" y="670"/>
                  </a:lnTo>
                  <a:lnTo>
                    <a:pt x="860" y="683"/>
                  </a:lnTo>
                  <a:lnTo>
                    <a:pt x="841" y="692"/>
                  </a:lnTo>
                  <a:lnTo>
                    <a:pt x="822" y="701"/>
                  </a:lnTo>
                  <a:lnTo>
                    <a:pt x="801" y="708"/>
                  </a:lnTo>
                  <a:lnTo>
                    <a:pt x="779" y="710"/>
                  </a:lnTo>
                  <a:lnTo>
                    <a:pt x="757" y="712"/>
                  </a:lnTo>
                  <a:lnTo>
                    <a:pt x="735" y="710"/>
                  </a:lnTo>
                  <a:lnTo>
                    <a:pt x="714" y="708"/>
                  </a:lnTo>
                  <a:lnTo>
                    <a:pt x="694" y="701"/>
                  </a:lnTo>
                  <a:lnTo>
                    <a:pt x="673" y="692"/>
                  </a:lnTo>
                  <a:lnTo>
                    <a:pt x="655" y="683"/>
                  </a:lnTo>
                  <a:lnTo>
                    <a:pt x="636" y="670"/>
                  </a:lnTo>
                  <a:lnTo>
                    <a:pt x="620" y="657"/>
                  </a:lnTo>
                  <a:lnTo>
                    <a:pt x="605" y="640"/>
                  </a:lnTo>
                  <a:lnTo>
                    <a:pt x="591" y="622"/>
                  </a:lnTo>
                  <a:lnTo>
                    <a:pt x="577" y="603"/>
                  </a:lnTo>
                  <a:lnTo>
                    <a:pt x="566" y="582"/>
                  </a:lnTo>
                  <a:lnTo>
                    <a:pt x="556" y="561"/>
                  </a:lnTo>
                  <a:lnTo>
                    <a:pt x="550" y="539"/>
                  </a:lnTo>
                  <a:lnTo>
                    <a:pt x="544" y="514"/>
                  </a:lnTo>
                  <a:lnTo>
                    <a:pt x="540" y="489"/>
                  </a:lnTo>
                  <a:lnTo>
                    <a:pt x="540" y="463"/>
                  </a:lnTo>
                  <a:lnTo>
                    <a:pt x="540" y="434"/>
                  </a:lnTo>
                  <a:lnTo>
                    <a:pt x="569" y="438"/>
                  </a:lnTo>
                  <a:lnTo>
                    <a:pt x="599" y="440"/>
                  </a:lnTo>
                  <a:lnTo>
                    <a:pt x="627" y="438"/>
                  </a:lnTo>
                  <a:lnTo>
                    <a:pt x="654" y="434"/>
                  </a:lnTo>
                  <a:lnTo>
                    <a:pt x="680" y="429"/>
                  </a:lnTo>
                  <a:lnTo>
                    <a:pt x="705" y="422"/>
                  </a:lnTo>
                  <a:lnTo>
                    <a:pt x="730" y="412"/>
                  </a:lnTo>
                  <a:lnTo>
                    <a:pt x="753" y="400"/>
                  </a:lnTo>
                  <a:lnTo>
                    <a:pt x="776" y="386"/>
                  </a:lnTo>
                  <a:lnTo>
                    <a:pt x="797" y="371"/>
                  </a:lnTo>
                  <a:lnTo>
                    <a:pt x="818" y="354"/>
                  </a:lnTo>
                  <a:lnTo>
                    <a:pt x="835" y="337"/>
                  </a:lnTo>
                  <a:lnTo>
                    <a:pt x="852" y="316"/>
                  </a:lnTo>
                  <a:lnTo>
                    <a:pt x="868" y="295"/>
                  </a:lnTo>
                  <a:lnTo>
                    <a:pt x="882" y="273"/>
                  </a:lnTo>
                  <a:lnTo>
                    <a:pt x="893" y="250"/>
                  </a:lnTo>
                  <a:lnTo>
                    <a:pt x="903" y="225"/>
                  </a:lnTo>
                  <a:lnTo>
                    <a:pt x="911" y="199"/>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646464"/>
                </a:solidFill>
              </a:endParaRPr>
            </a:p>
          </p:txBody>
        </p:sp>
        <p:sp>
          <p:nvSpPr>
            <p:cNvPr id="29" name="Freeform 108"/>
            <p:cNvSpPr>
              <a:spLocks noChangeAspect="1" noEditPoints="1"/>
            </p:cNvSpPr>
            <p:nvPr/>
          </p:nvSpPr>
          <p:spPr bwMode="auto">
            <a:xfrm>
              <a:off x="6642844" y="5337664"/>
              <a:ext cx="128183" cy="359148"/>
            </a:xfrm>
            <a:custGeom>
              <a:avLst/>
              <a:gdLst>
                <a:gd name="T0" fmla="*/ 2147483647 w 1700"/>
                <a:gd name="T1" fmla="*/ 2147483647 h 4763"/>
                <a:gd name="T2" fmla="*/ 2147483647 w 1700"/>
                <a:gd name="T3" fmla="*/ 2147483647 h 4763"/>
                <a:gd name="T4" fmla="*/ 2147483647 w 1700"/>
                <a:gd name="T5" fmla="*/ 2147483647 h 4763"/>
                <a:gd name="T6" fmla="*/ 2147483647 w 1700"/>
                <a:gd name="T7" fmla="*/ 2147483647 h 4763"/>
                <a:gd name="T8" fmla="*/ 2147483647 w 1700"/>
                <a:gd name="T9" fmla="*/ 2147483647 h 4763"/>
                <a:gd name="T10" fmla="*/ 2147483647 w 1700"/>
                <a:gd name="T11" fmla="*/ 2147483647 h 4763"/>
                <a:gd name="T12" fmla="*/ 2147483647 w 1700"/>
                <a:gd name="T13" fmla="*/ 2147483647 h 4763"/>
                <a:gd name="T14" fmla="*/ 2147483647 w 1700"/>
                <a:gd name="T15" fmla="*/ 2147483647 h 4763"/>
                <a:gd name="T16" fmla="*/ 2147483647 w 1700"/>
                <a:gd name="T17" fmla="*/ 2147483647 h 4763"/>
                <a:gd name="T18" fmla="*/ 2147483647 w 1700"/>
                <a:gd name="T19" fmla="*/ 2147483647 h 4763"/>
                <a:gd name="T20" fmla="*/ 2147483647 w 1700"/>
                <a:gd name="T21" fmla="*/ 2147483647 h 4763"/>
                <a:gd name="T22" fmla="*/ 2147483647 w 1700"/>
                <a:gd name="T23" fmla="*/ 2147483647 h 4763"/>
                <a:gd name="T24" fmla="*/ 2147483647 w 1700"/>
                <a:gd name="T25" fmla="*/ 2147483647 h 4763"/>
                <a:gd name="T26" fmla="*/ 2147483647 w 1700"/>
                <a:gd name="T27" fmla="*/ 2147483647 h 4763"/>
                <a:gd name="T28" fmla="*/ 2147483647 w 1700"/>
                <a:gd name="T29" fmla="*/ 2147483647 h 4763"/>
                <a:gd name="T30" fmla="*/ 2147483647 w 1700"/>
                <a:gd name="T31" fmla="*/ 2147483647 h 4763"/>
                <a:gd name="T32" fmla="*/ 2147483647 w 1700"/>
                <a:gd name="T33" fmla="*/ 2147483647 h 4763"/>
                <a:gd name="T34" fmla="*/ 2147483647 w 1700"/>
                <a:gd name="T35" fmla="*/ 2147483647 h 4763"/>
                <a:gd name="T36" fmla="*/ 2147483647 w 1700"/>
                <a:gd name="T37" fmla="*/ 2147483647 h 4763"/>
                <a:gd name="T38" fmla="*/ 2147483647 w 1700"/>
                <a:gd name="T39" fmla="*/ 2147483647 h 4763"/>
                <a:gd name="T40" fmla="*/ 2147483647 w 1700"/>
                <a:gd name="T41" fmla="*/ 0 h 4763"/>
                <a:gd name="T42" fmla="*/ 2147483647 w 1700"/>
                <a:gd name="T43" fmla="*/ 2147483647 h 4763"/>
                <a:gd name="T44" fmla="*/ 2147483647 w 1700"/>
                <a:gd name="T45" fmla="*/ 2147483647 h 4763"/>
                <a:gd name="T46" fmla="*/ 2147483647 w 1700"/>
                <a:gd name="T47" fmla="*/ 2147483647 h 4763"/>
                <a:gd name="T48" fmla="*/ 2147483647 w 1700"/>
                <a:gd name="T49" fmla="*/ 2147483647 h 4763"/>
                <a:gd name="T50" fmla="*/ 2147483647 w 1700"/>
                <a:gd name="T51" fmla="*/ 2147483647 h 4763"/>
                <a:gd name="T52" fmla="*/ 2147483647 w 1700"/>
                <a:gd name="T53" fmla="*/ 2147483647 h 4763"/>
                <a:gd name="T54" fmla="*/ 2147483647 w 1700"/>
                <a:gd name="T55" fmla="*/ 2147483647 h 4763"/>
                <a:gd name="T56" fmla="*/ 2147483647 w 1700"/>
                <a:gd name="T57" fmla="*/ 2147483647 h 4763"/>
                <a:gd name="T58" fmla="*/ 2147483647 w 1700"/>
                <a:gd name="T59" fmla="*/ 2147483647 h 4763"/>
                <a:gd name="T60" fmla="*/ 2147483647 w 1700"/>
                <a:gd name="T61" fmla="*/ 2147483647 h 4763"/>
                <a:gd name="T62" fmla="*/ 2147483647 w 1700"/>
                <a:gd name="T63" fmla="*/ 2147483647 h 4763"/>
                <a:gd name="T64" fmla="*/ 2147483647 w 1700"/>
                <a:gd name="T65" fmla="*/ 2147483647 h 4763"/>
                <a:gd name="T66" fmla="*/ 2147483647 w 1700"/>
                <a:gd name="T67" fmla="*/ 2147483647 h 4763"/>
                <a:gd name="T68" fmla="*/ 2147483647 w 1700"/>
                <a:gd name="T69" fmla="*/ 2147483647 h 4763"/>
                <a:gd name="T70" fmla="*/ 2147483647 w 1700"/>
                <a:gd name="T71" fmla="*/ 2147483647 h 4763"/>
                <a:gd name="T72" fmla="*/ 2147483647 w 1700"/>
                <a:gd name="T73" fmla="*/ 2147483647 h 4763"/>
                <a:gd name="T74" fmla="*/ 2147483647 w 1700"/>
                <a:gd name="T75" fmla="*/ 2147483647 h 4763"/>
                <a:gd name="T76" fmla="*/ 2147483647 w 1700"/>
                <a:gd name="T77" fmla="*/ 2147483647 h 4763"/>
                <a:gd name="T78" fmla="*/ 2147483647 w 1700"/>
                <a:gd name="T79" fmla="*/ 2147483647 h 4763"/>
                <a:gd name="T80" fmla="*/ 2147483647 w 1700"/>
                <a:gd name="T81" fmla="*/ 2147483647 h 4763"/>
                <a:gd name="T82" fmla="*/ 2147483647 w 1700"/>
                <a:gd name="T83" fmla="*/ 2147483647 h 4763"/>
                <a:gd name="T84" fmla="*/ 2147483647 w 1700"/>
                <a:gd name="T85" fmla="*/ 2147483647 h 4763"/>
                <a:gd name="T86" fmla="*/ 2147483647 w 1700"/>
                <a:gd name="T87" fmla="*/ 2147483647 h 4763"/>
                <a:gd name="T88" fmla="*/ 2147483647 w 1700"/>
                <a:gd name="T89" fmla="*/ 2147483647 h 4763"/>
                <a:gd name="T90" fmla="*/ 0 w 1700"/>
                <a:gd name="T91" fmla="*/ 2147483647 h 4763"/>
                <a:gd name="T92" fmla="*/ 2147483647 w 1700"/>
                <a:gd name="T93" fmla="*/ 2147483647 h 4763"/>
                <a:gd name="T94" fmla="*/ 2147483647 w 1700"/>
                <a:gd name="T95" fmla="*/ 2147483647 h 4763"/>
                <a:gd name="T96" fmla="*/ 2147483647 w 1700"/>
                <a:gd name="T97" fmla="*/ 2147483647 h 4763"/>
                <a:gd name="T98" fmla="*/ 2147483647 w 1700"/>
                <a:gd name="T99" fmla="*/ 2147483647 h 4763"/>
                <a:gd name="T100" fmla="*/ 2147483647 w 1700"/>
                <a:gd name="T101" fmla="*/ 2147483647 h 4763"/>
                <a:gd name="T102" fmla="*/ 2147483647 w 1700"/>
                <a:gd name="T103" fmla="*/ 2147483647 h 4763"/>
                <a:gd name="T104" fmla="*/ 2147483647 w 1700"/>
                <a:gd name="T105" fmla="*/ 2147483647 h 4763"/>
                <a:gd name="T106" fmla="*/ 2147483647 w 1700"/>
                <a:gd name="T107" fmla="*/ 2147483647 h 4763"/>
                <a:gd name="T108" fmla="*/ 2147483647 w 1700"/>
                <a:gd name="T109" fmla="*/ 2147483647 h 4763"/>
                <a:gd name="T110" fmla="*/ 2147483647 w 1700"/>
                <a:gd name="T111" fmla="*/ 2147483647 h 4763"/>
                <a:gd name="T112" fmla="*/ 2147483647 w 1700"/>
                <a:gd name="T113" fmla="*/ 2147483647 h 4763"/>
                <a:gd name="T114" fmla="*/ 2147483647 w 1700"/>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00"/>
                <a:gd name="T175" fmla="*/ 0 h 4763"/>
                <a:gd name="T176" fmla="*/ 1700 w 1700"/>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00" h="4763">
                  <a:moveTo>
                    <a:pt x="638" y="216"/>
                  </a:moveTo>
                  <a:lnTo>
                    <a:pt x="638" y="216"/>
                  </a:lnTo>
                  <a:lnTo>
                    <a:pt x="634" y="235"/>
                  </a:lnTo>
                  <a:lnTo>
                    <a:pt x="630" y="255"/>
                  </a:lnTo>
                  <a:lnTo>
                    <a:pt x="628" y="276"/>
                  </a:lnTo>
                  <a:lnTo>
                    <a:pt x="628" y="297"/>
                  </a:lnTo>
                  <a:lnTo>
                    <a:pt x="628" y="368"/>
                  </a:lnTo>
                  <a:lnTo>
                    <a:pt x="628" y="393"/>
                  </a:lnTo>
                  <a:lnTo>
                    <a:pt x="632" y="418"/>
                  </a:lnTo>
                  <a:lnTo>
                    <a:pt x="637" y="442"/>
                  </a:lnTo>
                  <a:lnTo>
                    <a:pt x="645" y="465"/>
                  </a:lnTo>
                  <a:lnTo>
                    <a:pt x="653" y="486"/>
                  </a:lnTo>
                  <a:lnTo>
                    <a:pt x="665" y="506"/>
                  </a:lnTo>
                  <a:lnTo>
                    <a:pt x="677" y="525"/>
                  </a:lnTo>
                  <a:lnTo>
                    <a:pt x="691" y="542"/>
                  </a:lnTo>
                  <a:lnTo>
                    <a:pt x="706" y="558"/>
                  </a:lnTo>
                  <a:lnTo>
                    <a:pt x="723" y="571"/>
                  </a:lnTo>
                  <a:lnTo>
                    <a:pt x="741" y="583"/>
                  </a:lnTo>
                  <a:lnTo>
                    <a:pt x="759" y="594"/>
                  </a:lnTo>
                  <a:lnTo>
                    <a:pt x="778" y="602"/>
                  </a:lnTo>
                  <a:lnTo>
                    <a:pt x="799" y="607"/>
                  </a:lnTo>
                  <a:lnTo>
                    <a:pt x="819" y="611"/>
                  </a:lnTo>
                  <a:lnTo>
                    <a:pt x="841" y="612"/>
                  </a:lnTo>
                  <a:lnTo>
                    <a:pt x="863" y="611"/>
                  </a:lnTo>
                  <a:lnTo>
                    <a:pt x="883" y="607"/>
                  </a:lnTo>
                  <a:lnTo>
                    <a:pt x="904" y="602"/>
                  </a:lnTo>
                  <a:lnTo>
                    <a:pt x="922" y="594"/>
                  </a:lnTo>
                  <a:lnTo>
                    <a:pt x="941" y="583"/>
                  </a:lnTo>
                  <a:lnTo>
                    <a:pt x="959" y="571"/>
                  </a:lnTo>
                  <a:lnTo>
                    <a:pt x="975" y="558"/>
                  </a:lnTo>
                  <a:lnTo>
                    <a:pt x="990" y="542"/>
                  </a:lnTo>
                  <a:lnTo>
                    <a:pt x="1005" y="525"/>
                  </a:lnTo>
                  <a:lnTo>
                    <a:pt x="1017" y="506"/>
                  </a:lnTo>
                  <a:lnTo>
                    <a:pt x="1028" y="486"/>
                  </a:lnTo>
                  <a:lnTo>
                    <a:pt x="1036" y="465"/>
                  </a:lnTo>
                  <a:lnTo>
                    <a:pt x="1044" y="442"/>
                  </a:lnTo>
                  <a:lnTo>
                    <a:pt x="1050" y="418"/>
                  </a:lnTo>
                  <a:lnTo>
                    <a:pt x="1054" y="393"/>
                  </a:lnTo>
                  <a:lnTo>
                    <a:pt x="1054" y="368"/>
                  </a:lnTo>
                  <a:lnTo>
                    <a:pt x="1054" y="297"/>
                  </a:lnTo>
                  <a:lnTo>
                    <a:pt x="1054" y="274"/>
                  </a:lnTo>
                  <a:lnTo>
                    <a:pt x="1051" y="251"/>
                  </a:lnTo>
                  <a:lnTo>
                    <a:pt x="1046" y="230"/>
                  </a:lnTo>
                  <a:lnTo>
                    <a:pt x="1040" y="208"/>
                  </a:lnTo>
                  <a:lnTo>
                    <a:pt x="1032" y="198"/>
                  </a:lnTo>
                  <a:lnTo>
                    <a:pt x="1025" y="189"/>
                  </a:lnTo>
                  <a:lnTo>
                    <a:pt x="1017" y="179"/>
                  </a:lnTo>
                  <a:lnTo>
                    <a:pt x="1007" y="171"/>
                  </a:lnTo>
                  <a:lnTo>
                    <a:pt x="997" y="163"/>
                  </a:lnTo>
                  <a:lnTo>
                    <a:pt x="986" y="157"/>
                  </a:lnTo>
                  <a:lnTo>
                    <a:pt x="963" y="145"/>
                  </a:lnTo>
                  <a:lnTo>
                    <a:pt x="952" y="158"/>
                  </a:lnTo>
                  <a:lnTo>
                    <a:pt x="938" y="170"/>
                  </a:lnTo>
                  <a:lnTo>
                    <a:pt x="924" y="181"/>
                  </a:lnTo>
                  <a:lnTo>
                    <a:pt x="908" y="190"/>
                  </a:lnTo>
                  <a:lnTo>
                    <a:pt x="892" y="197"/>
                  </a:lnTo>
                  <a:lnTo>
                    <a:pt x="873" y="202"/>
                  </a:lnTo>
                  <a:lnTo>
                    <a:pt x="855" y="206"/>
                  </a:lnTo>
                  <a:lnTo>
                    <a:pt x="836" y="207"/>
                  </a:lnTo>
                  <a:lnTo>
                    <a:pt x="817" y="206"/>
                  </a:lnTo>
                  <a:lnTo>
                    <a:pt x="800" y="203"/>
                  </a:lnTo>
                  <a:lnTo>
                    <a:pt x="783" y="198"/>
                  </a:lnTo>
                  <a:lnTo>
                    <a:pt x="767" y="191"/>
                  </a:lnTo>
                  <a:lnTo>
                    <a:pt x="751" y="183"/>
                  </a:lnTo>
                  <a:lnTo>
                    <a:pt x="737" y="173"/>
                  </a:lnTo>
                  <a:lnTo>
                    <a:pt x="725" y="162"/>
                  </a:lnTo>
                  <a:lnTo>
                    <a:pt x="713" y="149"/>
                  </a:lnTo>
                  <a:lnTo>
                    <a:pt x="690" y="162"/>
                  </a:lnTo>
                  <a:lnTo>
                    <a:pt x="679" y="169"/>
                  </a:lnTo>
                  <a:lnTo>
                    <a:pt x="670" y="178"/>
                  </a:lnTo>
                  <a:lnTo>
                    <a:pt x="661" y="186"/>
                  </a:lnTo>
                  <a:lnTo>
                    <a:pt x="653" y="195"/>
                  </a:lnTo>
                  <a:lnTo>
                    <a:pt x="645" y="206"/>
                  </a:lnTo>
                  <a:lnTo>
                    <a:pt x="638" y="216"/>
                  </a:lnTo>
                  <a:close/>
                  <a:moveTo>
                    <a:pt x="841" y="0"/>
                  </a:moveTo>
                  <a:lnTo>
                    <a:pt x="841" y="0"/>
                  </a:lnTo>
                  <a:lnTo>
                    <a:pt x="868" y="1"/>
                  </a:lnTo>
                  <a:lnTo>
                    <a:pt x="896" y="5"/>
                  </a:lnTo>
                  <a:lnTo>
                    <a:pt x="921" y="13"/>
                  </a:lnTo>
                  <a:lnTo>
                    <a:pt x="946" y="24"/>
                  </a:lnTo>
                  <a:lnTo>
                    <a:pt x="969" y="36"/>
                  </a:lnTo>
                  <a:lnTo>
                    <a:pt x="991" y="50"/>
                  </a:lnTo>
                  <a:lnTo>
                    <a:pt x="1011" y="68"/>
                  </a:lnTo>
                  <a:lnTo>
                    <a:pt x="1031" y="88"/>
                  </a:lnTo>
                  <a:lnTo>
                    <a:pt x="1047" y="109"/>
                  </a:lnTo>
                  <a:lnTo>
                    <a:pt x="1063" y="131"/>
                  </a:lnTo>
                  <a:lnTo>
                    <a:pt x="1076" y="157"/>
                  </a:lnTo>
                  <a:lnTo>
                    <a:pt x="1087" y="182"/>
                  </a:lnTo>
                  <a:lnTo>
                    <a:pt x="1096" y="210"/>
                  </a:lnTo>
                  <a:lnTo>
                    <a:pt x="1103" y="238"/>
                  </a:lnTo>
                  <a:lnTo>
                    <a:pt x="1107" y="267"/>
                  </a:lnTo>
                  <a:lnTo>
                    <a:pt x="1107" y="296"/>
                  </a:lnTo>
                  <a:lnTo>
                    <a:pt x="1108" y="340"/>
                  </a:lnTo>
                  <a:lnTo>
                    <a:pt x="1108" y="369"/>
                  </a:lnTo>
                  <a:lnTo>
                    <a:pt x="1108" y="380"/>
                  </a:lnTo>
                  <a:lnTo>
                    <a:pt x="1107" y="385"/>
                  </a:lnTo>
                  <a:lnTo>
                    <a:pt x="1105" y="413"/>
                  </a:lnTo>
                  <a:lnTo>
                    <a:pt x="1101" y="441"/>
                  </a:lnTo>
                  <a:lnTo>
                    <a:pt x="1095" y="467"/>
                  </a:lnTo>
                  <a:lnTo>
                    <a:pt x="1086" y="494"/>
                  </a:lnTo>
                  <a:lnTo>
                    <a:pt x="1074" y="518"/>
                  </a:lnTo>
                  <a:lnTo>
                    <a:pt x="1060" y="542"/>
                  </a:lnTo>
                  <a:lnTo>
                    <a:pt x="1044" y="563"/>
                  </a:lnTo>
                  <a:lnTo>
                    <a:pt x="1027" y="583"/>
                  </a:lnTo>
                  <a:lnTo>
                    <a:pt x="1009" y="602"/>
                  </a:lnTo>
                  <a:lnTo>
                    <a:pt x="989" y="617"/>
                  </a:lnTo>
                  <a:lnTo>
                    <a:pt x="966" y="631"/>
                  </a:lnTo>
                  <a:lnTo>
                    <a:pt x="944" y="643"/>
                  </a:lnTo>
                  <a:lnTo>
                    <a:pt x="918" y="652"/>
                  </a:lnTo>
                  <a:lnTo>
                    <a:pt x="893" y="660"/>
                  </a:lnTo>
                  <a:lnTo>
                    <a:pt x="868" y="664"/>
                  </a:lnTo>
                  <a:lnTo>
                    <a:pt x="841" y="665"/>
                  </a:lnTo>
                  <a:lnTo>
                    <a:pt x="814" y="664"/>
                  </a:lnTo>
                  <a:lnTo>
                    <a:pt x="788" y="660"/>
                  </a:lnTo>
                  <a:lnTo>
                    <a:pt x="763" y="652"/>
                  </a:lnTo>
                  <a:lnTo>
                    <a:pt x="738" y="643"/>
                  </a:lnTo>
                  <a:lnTo>
                    <a:pt x="715" y="631"/>
                  </a:lnTo>
                  <a:lnTo>
                    <a:pt x="693" y="617"/>
                  </a:lnTo>
                  <a:lnTo>
                    <a:pt x="673" y="602"/>
                  </a:lnTo>
                  <a:lnTo>
                    <a:pt x="654" y="583"/>
                  </a:lnTo>
                  <a:lnTo>
                    <a:pt x="637" y="563"/>
                  </a:lnTo>
                  <a:lnTo>
                    <a:pt x="621" y="542"/>
                  </a:lnTo>
                  <a:lnTo>
                    <a:pt x="608" y="518"/>
                  </a:lnTo>
                  <a:lnTo>
                    <a:pt x="596" y="494"/>
                  </a:lnTo>
                  <a:lnTo>
                    <a:pt x="587" y="467"/>
                  </a:lnTo>
                  <a:lnTo>
                    <a:pt x="580" y="441"/>
                  </a:lnTo>
                  <a:lnTo>
                    <a:pt x="576" y="413"/>
                  </a:lnTo>
                  <a:lnTo>
                    <a:pt x="575" y="385"/>
                  </a:lnTo>
                  <a:lnTo>
                    <a:pt x="573" y="380"/>
                  </a:lnTo>
                  <a:lnTo>
                    <a:pt x="573" y="369"/>
                  </a:lnTo>
                  <a:lnTo>
                    <a:pt x="573" y="340"/>
                  </a:lnTo>
                  <a:lnTo>
                    <a:pt x="575" y="297"/>
                  </a:lnTo>
                  <a:lnTo>
                    <a:pt x="576" y="267"/>
                  </a:lnTo>
                  <a:lnTo>
                    <a:pt x="579" y="238"/>
                  </a:lnTo>
                  <a:lnTo>
                    <a:pt x="585" y="210"/>
                  </a:lnTo>
                  <a:lnTo>
                    <a:pt x="595" y="182"/>
                  </a:lnTo>
                  <a:lnTo>
                    <a:pt x="605" y="157"/>
                  </a:lnTo>
                  <a:lnTo>
                    <a:pt x="618" y="131"/>
                  </a:lnTo>
                  <a:lnTo>
                    <a:pt x="634" y="109"/>
                  </a:lnTo>
                  <a:lnTo>
                    <a:pt x="650" y="88"/>
                  </a:lnTo>
                  <a:lnTo>
                    <a:pt x="670" y="69"/>
                  </a:lnTo>
                  <a:lnTo>
                    <a:pt x="690" y="50"/>
                  </a:lnTo>
                  <a:lnTo>
                    <a:pt x="713" y="36"/>
                  </a:lnTo>
                  <a:lnTo>
                    <a:pt x="735" y="24"/>
                  </a:lnTo>
                  <a:lnTo>
                    <a:pt x="760" y="13"/>
                  </a:lnTo>
                  <a:lnTo>
                    <a:pt x="786" y="5"/>
                  </a:lnTo>
                  <a:lnTo>
                    <a:pt x="814" y="1"/>
                  </a:lnTo>
                  <a:lnTo>
                    <a:pt x="841" y="0"/>
                  </a:lnTo>
                  <a:close/>
                  <a:moveTo>
                    <a:pt x="1417" y="3144"/>
                  </a:moveTo>
                  <a:lnTo>
                    <a:pt x="1538" y="3046"/>
                  </a:lnTo>
                  <a:lnTo>
                    <a:pt x="1600" y="2791"/>
                  </a:lnTo>
                  <a:lnTo>
                    <a:pt x="1655" y="2791"/>
                  </a:lnTo>
                  <a:lnTo>
                    <a:pt x="1585" y="3077"/>
                  </a:lnTo>
                  <a:lnTo>
                    <a:pt x="1413" y="3215"/>
                  </a:lnTo>
                  <a:lnTo>
                    <a:pt x="1343" y="4763"/>
                  </a:lnTo>
                  <a:lnTo>
                    <a:pt x="897" y="4763"/>
                  </a:lnTo>
                  <a:lnTo>
                    <a:pt x="897" y="2726"/>
                  </a:lnTo>
                  <a:lnTo>
                    <a:pt x="844" y="2726"/>
                  </a:lnTo>
                  <a:lnTo>
                    <a:pt x="844" y="4763"/>
                  </a:lnTo>
                  <a:lnTo>
                    <a:pt x="398" y="4763"/>
                  </a:lnTo>
                  <a:lnTo>
                    <a:pt x="326" y="3217"/>
                  </a:lnTo>
                  <a:lnTo>
                    <a:pt x="153" y="3077"/>
                  </a:lnTo>
                  <a:lnTo>
                    <a:pt x="82" y="2791"/>
                  </a:lnTo>
                  <a:lnTo>
                    <a:pt x="137" y="2791"/>
                  </a:lnTo>
                  <a:lnTo>
                    <a:pt x="199" y="3046"/>
                  </a:lnTo>
                  <a:lnTo>
                    <a:pt x="322" y="3147"/>
                  </a:lnTo>
                  <a:lnTo>
                    <a:pt x="304" y="2738"/>
                  </a:lnTo>
                  <a:lnTo>
                    <a:pt x="300" y="2738"/>
                  </a:lnTo>
                  <a:lnTo>
                    <a:pt x="0" y="2738"/>
                  </a:lnTo>
                  <a:lnTo>
                    <a:pt x="0" y="1086"/>
                  </a:lnTo>
                  <a:lnTo>
                    <a:pt x="1" y="1065"/>
                  </a:lnTo>
                  <a:lnTo>
                    <a:pt x="4" y="1045"/>
                  </a:lnTo>
                  <a:lnTo>
                    <a:pt x="9" y="1028"/>
                  </a:lnTo>
                  <a:lnTo>
                    <a:pt x="16" y="1012"/>
                  </a:lnTo>
                  <a:lnTo>
                    <a:pt x="25" y="997"/>
                  </a:lnTo>
                  <a:lnTo>
                    <a:pt x="35" y="983"/>
                  </a:lnTo>
                  <a:lnTo>
                    <a:pt x="46" y="971"/>
                  </a:lnTo>
                  <a:lnTo>
                    <a:pt x="60" y="959"/>
                  </a:lnTo>
                  <a:lnTo>
                    <a:pt x="74" y="948"/>
                  </a:lnTo>
                  <a:lnTo>
                    <a:pt x="89" y="939"/>
                  </a:lnTo>
                  <a:lnTo>
                    <a:pt x="106" y="929"/>
                  </a:lnTo>
                  <a:lnTo>
                    <a:pt x="123" y="920"/>
                  </a:lnTo>
                  <a:lnTo>
                    <a:pt x="162" y="904"/>
                  </a:lnTo>
                  <a:lnTo>
                    <a:pt x="202" y="890"/>
                  </a:lnTo>
                  <a:lnTo>
                    <a:pt x="606" y="742"/>
                  </a:lnTo>
                  <a:lnTo>
                    <a:pt x="738" y="1522"/>
                  </a:lnTo>
                  <a:lnTo>
                    <a:pt x="806" y="916"/>
                  </a:lnTo>
                  <a:lnTo>
                    <a:pt x="790" y="908"/>
                  </a:lnTo>
                  <a:lnTo>
                    <a:pt x="774" y="898"/>
                  </a:lnTo>
                  <a:lnTo>
                    <a:pt x="760" y="886"/>
                  </a:lnTo>
                  <a:lnTo>
                    <a:pt x="750" y="871"/>
                  </a:lnTo>
                  <a:lnTo>
                    <a:pt x="851" y="775"/>
                  </a:lnTo>
                  <a:lnTo>
                    <a:pt x="952" y="871"/>
                  </a:lnTo>
                  <a:lnTo>
                    <a:pt x="940" y="886"/>
                  </a:lnTo>
                  <a:lnTo>
                    <a:pt x="926" y="898"/>
                  </a:lnTo>
                  <a:lnTo>
                    <a:pt x="912" y="908"/>
                  </a:lnTo>
                  <a:lnTo>
                    <a:pt x="894" y="916"/>
                  </a:lnTo>
                  <a:lnTo>
                    <a:pt x="962" y="1522"/>
                  </a:lnTo>
                  <a:lnTo>
                    <a:pt x="1095" y="742"/>
                  </a:lnTo>
                  <a:lnTo>
                    <a:pt x="1500" y="890"/>
                  </a:lnTo>
                  <a:lnTo>
                    <a:pt x="1539" y="904"/>
                  </a:lnTo>
                  <a:lnTo>
                    <a:pt x="1577" y="920"/>
                  </a:lnTo>
                  <a:lnTo>
                    <a:pt x="1594" y="929"/>
                  </a:lnTo>
                  <a:lnTo>
                    <a:pt x="1611" y="939"/>
                  </a:lnTo>
                  <a:lnTo>
                    <a:pt x="1627" y="948"/>
                  </a:lnTo>
                  <a:lnTo>
                    <a:pt x="1642" y="959"/>
                  </a:lnTo>
                  <a:lnTo>
                    <a:pt x="1654" y="971"/>
                  </a:lnTo>
                  <a:lnTo>
                    <a:pt x="1665" y="983"/>
                  </a:lnTo>
                  <a:lnTo>
                    <a:pt x="1676" y="997"/>
                  </a:lnTo>
                  <a:lnTo>
                    <a:pt x="1684" y="1012"/>
                  </a:lnTo>
                  <a:lnTo>
                    <a:pt x="1691" y="1028"/>
                  </a:lnTo>
                  <a:lnTo>
                    <a:pt x="1696" y="1045"/>
                  </a:lnTo>
                  <a:lnTo>
                    <a:pt x="1699" y="1065"/>
                  </a:lnTo>
                  <a:lnTo>
                    <a:pt x="1700" y="1086"/>
                  </a:lnTo>
                  <a:lnTo>
                    <a:pt x="1700" y="2738"/>
                  </a:lnTo>
                  <a:lnTo>
                    <a:pt x="1436" y="2738"/>
                  </a:lnTo>
                  <a:lnTo>
                    <a:pt x="1417" y="3144"/>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646464"/>
                </a:solidFill>
              </a:endParaRPr>
            </a:p>
          </p:txBody>
        </p:sp>
        <p:sp>
          <p:nvSpPr>
            <p:cNvPr id="30" name="Freeform 63"/>
            <p:cNvSpPr>
              <a:spLocks noChangeAspect="1" noEditPoints="1"/>
            </p:cNvSpPr>
            <p:nvPr/>
          </p:nvSpPr>
          <p:spPr bwMode="auto">
            <a:xfrm>
              <a:off x="6642844" y="4932759"/>
              <a:ext cx="113415" cy="359148"/>
            </a:xfrm>
            <a:custGeom>
              <a:avLst/>
              <a:gdLst>
                <a:gd name="T0" fmla="*/ 2147483647 w 1510"/>
                <a:gd name="T1" fmla="*/ 2147483647 h 4763"/>
                <a:gd name="T2" fmla="*/ 2147483647 w 1510"/>
                <a:gd name="T3" fmla="*/ 2147483647 h 4763"/>
                <a:gd name="T4" fmla="*/ 2147483647 w 1510"/>
                <a:gd name="T5" fmla="*/ 2147483647 h 4763"/>
                <a:gd name="T6" fmla="*/ 2147483647 w 1510"/>
                <a:gd name="T7" fmla="*/ 2147483647 h 4763"/>
                <a:gd name="T8" fmla="*/ 2147483647 w 1510"/>
                <a:gd name="T9" fmla="*/ 2147483647 h 4763"/>
                <a:gd name="T10" fmla="*/ 2147483647 w 1510"/>
                <a:gd name="T11" fmla="*/ 2147483647 h 4763"/>
                <a:gd name="T12" fmla="*/ 2147483647 w 1510"/>
                <a:gd name="T13" fmla="*/ 2147483647 h 4763"/>
                <a:gd name="T14" fmla="*/ 2147483647 w 1510"/>
                <a:gd name="T15" fmla="*/ 2147483647 h 4763"/>
                <a:gd name="T16" fmla="*/ 2147483647 w 1510"/>
                <a:gd name="T17" fmla="*/ 2147483647 h 4763"/>
                <a:gd name="T18" fmla="*/ 2147483647 w 1510"/>
                <a:gd name="T19" fmla="*/ 2147483647 h 4763"/>
                <a:gd name="T20" fmla="*/ 2147483647 w 1510"/>
                <a:gd name="T21" fmla="*/ 2147483647 h 4763"/>
                <a:gd name="T22" fmla="*/ 2147483647 w 1510"/>
                <a:gd name="T23" fmla="*/ 2147483647 h 4763"/>
                <a:gd name="T24" fmla="*/ 2147483647 w 1510"/>
                <a:gd name="T25" fmla="*/ 2147483647 h 4763"/>
                <a:gd name="T26" fmla="*/ 2147483647 w 1510"/>
                <a:gd name="T27" fmla="*/ 2147483647 h 4763"/>
                <a:gd name="T28" fmla="*/ 2147483647 w 1510"/>
                <a:gd name="T29" fmla="*/ 2147483647 h 4763"/>
                <a:gd name="T30" fmla="*/ 2147483647 w 1510"/>
                <a:gd name="T31" fmla="*/ 2147483647 h 4763"/>
                <a:gd name="T32" fmla="*/ 2147483647 w 1510"/>
                <a:gd name="T33" fmla="*/ 2147483647 h 4763"/>
                <a:gd name="T34" fmla="*/ 2147483647 w 1510"/>
                <a:gd name="T35" fmla="*/ 2147483647 h 4763"/>
                <a:gd name="T36" fmla="*/ 2147483647 w 1510"/>
                <a:gd name="T37" fmla="*/ 2147483647 h 4763"/>
                <a:gd name="T38" fmla="*/ 2147483647 w 1510"/>
                <a:gd name="T39" fmla="*/ 2147483647 h 4763"/>
                <a:gd name="T40" fmla="*/ 2147483647 w 1510"/>
                <a:gd name="T41" fmla="*/ 2147483647 h 4763"/>
                <a:gd name="T42" fmla="*/ 2147483647 w 1510"/>
                <a:gd name="T43" fmla="*/ 2147483647 h 4763"/>
                <a:gd name="T44" fmla="*/ 2147483647 w 1510"/>
                <a:gd name="T45" fmla="*/ 2147483647 h 4763"/>
                <a:gd name="T46" fmla="*/ 2147483647 w 1510"/>
                <a:gd name="T47" fmla="*/ 2147483647 h 4763"/>
                <a:gd name="T48" fmla="*/ 2147483647 w 1510"/>
                <a:gd name="T49" fmla="*/ 2147483647 h 4763"/>
                <a:gd name="T50" fmla="*/ 2147483647 w 1510"/>
                <a:gd name="T51" fmla="*/ 2147483647 h 4763"/>
                <a:gd name="T52" fmla="*/ 2147483647 w 1510"/>
                <a:gd name="T53" fmla="*/ 2147483647 h 4763"/>
                <a:gd name="T54" fmla="*/ 2147483647 w 1510"/>
                <a:gd name="T55" fmla="*/ 2147483647 h 4763"/>
                <a:gd name="T56" fmla="*/ 2147483647 w 1510"/>
                <a:gd name="T57" fmla="*/ 2147483647 h 4763"/>
                <a:gd name="T58" fmla="*/ 2147483647 w 1510"/>
                <a:gd name="T59" fmla="*/ 2147483647 h 4763"/>
                <a:gd name="T60" fmla="*/ 2147483647 w 1510"/>
                <a:gd name="T61" fmla="*/ 2147483647 h 4763"/>
                <a:gd name="T62" fmla="*/ 2147483647 w 1510"/>
                <a:gd name="T63" fmla="*/ 2147483647 h 4763"/>
                <a:gd name="T64" fmla="*/ 2147483647 w 1510"/>
                <a:gd name="T65" fmla="*/ 2147483647 h 4763"/>
                <a:gd name="T66" fmla="*/ 2147483647 w 1510"/>
                <a:gd name="T67" fmla="*/ 2147483647 h 4763"/>
                <a:gd name="T68" fmla="*/ 2147483647 w 1510"/>
                <a:gd name="T69" fmla="*/ 2147483647 h 4763"/>
                <a:gd name="T70" fmla="*/ 2147483647 w 1510"/>
                <a:gd name="T71" fmla="*/ 2147483647 h 4763"/>
                <a:gd name="T72" fmla="*/ 2147483647 w 1510"/>
                <a:gd name="T73" fmla="*/ 2147483647 h 4763"/>
                <a:gd name="T74" fmla="*/ 2147483647 w 1510"/>
                <a:gd name="T75" fmla="*/ 2147483647 h 4763"/>
                <a:gd name="T76" fmla="*/ 2147483647 w 1510"/>
                <a:gd name="T77" fmla="*/ 2147483647 h 4763"/>
                <a:gd name="T78" fmla="*/ 2147483647 w 1510"/>
                <a:gd name="T79" fmla="*/ 2147483647 h 4763"/>
                <a:gd name="T80" fmla="*/ 2147483647 w 1510"/>
                <a:gd name="T81" fmla="*/ 2147483647 h 4763"/>
                <a:gd name="T82" fmla="*/ 2147483647 w 1510"/>
                <a:gd name="T83" fmla="*/ 2147483647 h 4763"/>
                <a:gd name="T84" fmla="*/ 2147483647 w 1510"/>
                <a:gd name="T85" fmla="*/ 2147483647 h 4763"/>
                <a:gd name="T86" fmla="*/ 2147483647 w 1510"/>
                <a:gd name="T87" fmla="*/ 2147483647 h 4763"/>
                <a:gd name="T88" fmla="*/ 2147483647 w 1510"/>
                <a:gd name="T89" fmla="*/ 2147483647 h 4763"/>
                <a:gd name="T90" fmla="*/ 2147483647 w 1510"/>
                <a:gd name="T91" fmla="*/ 2147483647 h 4763"/>
                <a:gd name="T92" fmla="*/ 2147483647 w 1510"/>
                <a:gd name="T93" fmla="*/ 2147483647 h 4763"/>
                <a:gd name="T94" fmla="*/ 2147483647 w 1510"/>
                <a:gd name="T95" fmla="*/ 2147483647 h 4763"/>
                <a:gd name="T96" fmla="*/ 2147483647 w 1510"/>
                <a:gd name="T97" fmla="*/ 2147483647 h 4763"/>
                <a:gd name="T98" fmla="*/ 2147483647 w 1510"/>
                <a:gd name="T99" fmla="*/ 2147483647 h 4763"/>
                <a:gd name="T100" fmla="*/ 2147483647 w 1510"/>
                <a:gd name="T101" fmla="*/ 2147483647 h 4763"/>
                <a:gd name="T102" fmla="*/ 2147483647 w 1510"/>
                <a:gd name="T103" fmla="*/ 2147483647 h 4763"/>
                <a:gd name="T104" fmla="*/ 2147483647 w 1510"/>
                <a:gd name="T105" fmla="*/ 2147483647 h 4763"/>
                <a:gd name="T106" fmla="*/ 2147483647 w 1510"/>
                <a:gd name="T107" fmla="*/ 2147483647 h 4763"/>
                <a:gd name="T108" fmla="*/ 2147483647 w 1510"/>
                <a:gd name="T109" fmla="*/ 2147483647 h 4763"/>
                <a:gd name="T110" fmla="*/ 2147483647 w 1510"/>
                <a:gd name="T111" fmla="*/ 2147483647 h 4763"/>
                <a:gd name="T112" fmla="*/ 2147483647 w 1510"/>
                <a:gd name="T113" fmla="*/ 2147483647 h 4763"/>
                <a:gd name="T114" fmla="*/ 2147483647 w 1510"/>
                <a:gd name="T115" fmla="*/ 2147483647 h 4763"/>
                <a:gd name="T116" fmla="*/ 2147483647 w 1510"/>
                <a:gd name="T117" fmla="*/ 2147483647 h 4763"/>
                <a:gd name="T118" fmla="*/ 2147483647 w 1510"/>
                <a:gd name="T119" fmla="*/ 2147483647 h 4763"/>
                <a:gd name="T120" fmla="*/ 2147483647 w 1510"/>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10"/>
                <a:gd name="T184" fmla="*/ 0 h 4763"/>
                <a:gd name="T185" fmla="*/ 1510 w 1510"/>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10" h="4763">
                  <a:moveTo>
                    <a:pt x="544" y="802"/>
                  </a:moveTo>
                  <a:lnTo>
                    <a:pt x="749" y="1234"/>
                  </a:lnTo>
                  <a:lnTo>
                    <a:pt x="951" y="806"/>
                  </a:lnTo>
                  <a:lnTo>
                    <a:pt x="1157" y="841"/>
                  </a:lnTo>
                  <a:lnTo>
                    <a:pt x="1184" y="846"/>
                  </a:lnTo>
                  <a:lnTo>
                    <a:pt x="1212" y="852"/>
                  </a:lnTo>
                  <a:lnTo>
                    <a:pt x="1238" y="860"/>
                  </a:lnTo>
                  <a:lnTo>
                    <a:pt x="1264" y="870"/>
                  </a:lnTo>
                  <a:lnTo>
                    <a:pt x="1287" y="879"/>
                  </a:lnTo>
                  <a:lnTo>
                    <a:pt x="1311" y="892"/>
                  </a:lnTo>
                  <a:lnTo>
                    <a:pt x="1333" y="907"/>
                  </a:lnTo>
                  <a:lnTo>
                    <a:pt x="1353" y="922"/>
                  </a:lnTo>
                  <a:lnTo>
                    <a:pt x="1371" y="941"/>
                  </a:lnTo>
                  <a:lnTo>
                    <a:pt x="1388" y="960"/>
                  </a:lnTo>
                  <a:lnTo>
                    <a:pt x="1403" y="984"/>
                  </a:lnTo>
                  <a:lnTo>
                    <a:pt x="1414" y="1007"/>
                  </a:lnTo>
                  <a:lnTo>
                    <a:pt x="1423" y="1034"/>
                  </a:lnTo>
                  <a:lnTo>
                    <a:pt x="1432" y="1065"/>
                  </a:lnTo>
                  <a:lnTo>
                    <a:pt x="1436" y="1096"/>
                  </a:lnTo>
                  <a:lnTo>
                    <a:pt x="1437" y="1131"/>
                  </a:lnTo>
                  <a:lnTo>
                    <a:pt x="1437" y="2330"/>
                  </a:lnTo>
                  <a:lnTo>
                    <a:pt x="1301" y="2735"/>
                  </a:lnTo>
                  <a:lnTo>
                    <a:pt x="1510" y="3779"/>
                  </a:lnTo>
                  <a:lnTo>
                    <a:pt x="1157" y="3779"/>
                  </a:lnTo>
                  <a:lnTo>
                    <a:pt x="1021" y="4763"/>
                  </a:lnTo>
                  <a:lnTo>
                    <a:pt x="910" y="4763"/>
                  </a:lnTo>
                  <a:lnTo>
                    <a:pt x="1046" y="3779"/>
                  </a:lnTo>
                  <a:lnTo>
                    <a:pt x="787" y="3779"/>
                  </a:lnTo>
                  <a:lnTo>
                    <a:pt x="782" y="4763"/>
                  </a:lnTo>
                  <a:lnTo>
                    <a:pt x="727" y="4763"/>
                  </a:lnTo>
                  <a:lnTo>
                    <a:pt x="732" y="3779"/>
                  </a:lnTo>
                  <a:lnTo>
                    <a:pt x="464" y="3779"/>
                  </a:lnTo>
                  <a:lnTo>
                    <a:pt x="599" y="4763"/>
                  </a:lnTo>
                  <a:lnTo>
                    <a:pt x="488" y="4763"/>
                  </a:lnTo>
                  <a:lnTo>
                    <a:pt x="353" y="3779"/>
                  </a:lnTo>
                  <a:lnTo>
                    <a:pt x="0" y="3779"/>
                  </a:lnTo>
                  <a:lnTo>
                    <a:pt x="213" y="2737"/>
                  </a:lnTo>
                  <a:lnTo>
                    <a:pt x="73" y="2331"/>
                  </a:lnTo>
                  <a:lnTo>
                    <a:pt x="73" y="1131"/>
                  </a:lnTo>
                  <a:lnTo>
                    <a:pt x="74" y="1098"/>
                  </a:lnTo>
                  <a:lnTo>
                    <a:pt x="78" y="1066"/>
                  </a:lnTo>
                  <a:lnTo>
                    <a:pt x="84" y="1037"/>
                  </a:lnTo>
                  <a:lnTo>
                    <a:pt x="93" y="1011"/>
                  </a:lnTo>
                  <a:lnTo>
                    <a:pt x="104" y="988"/>
                  </a:lnTo>
                  <a:lnTo>
                    <a:pt x="118" y="966"/>
                  </a:lnTo>
                  <a:lnTo>
                    <a:pt x="133" y="947"/>
                  </a:lnTo>
                  <a:lnTo>
                    <a:pt x="151" y="929"/>
                  </a:lnTo>
                  <a:lnTo>
                    <a:pt x="170" y="912"/>
                  </a:lnTo>
                  <a:lnTo>
                    <a:pt x="191" y="898"/>
                  </a:lnTo>
                  <a:lnTo>
                    <a:pt x="213" y="886"/>
                  </a:lnTo>
                  <a:lnTo>
                    <a:pt x="236" y="875"/>
                  </a:lnTo>
                  <a:lnTo>
                    <a:pt x="260" y="866"/>
                  </a:lnTo>
                  <a:lnTo>
                    <a:pt x="284" y="857"/>
                  </a:lnTo>
                  <a:lnTo>
                    <a:pt x="311" y="850"/>
                  </a:lnTo>
                  <a:lnTo>
                    <a:pt x="337" y="845"/>
                  </a:lnTo>
                  <a:lnTo>
                    <a:pt x="544" y="802"/>
                  </a:lnTo>
                  <a:close/>
                  <a:moveTo>
                    <a:pt x="956" y="919"/>
                  </a:moveTo>
                  <a:lnTo>
                    <a:pt x="747" y="1360"/>
                  </a:lnTo>
                  <a:lnTo>
                    <a:pt x="536" y="915"/>
                  </a:lnTo>
                  <a:lnTo>
                    <a:pt x="365" y="945"/>
                  </a:lnTo>
                  <a:lnTo>
                    <a:pt x="348" y="949"/>
                  </a:lnTo>
                  <a:lnTo>
                    <a:pt x="330" y="953"/>
                  </a:lnTo>
                  <a:lnTo>
                    <a:pt x="312" y="959"/>
                  </a:lnTo>
                  <a:lnTo>
                    <a:pt x="295" y="966"/>
                  </a:lnTo>
                  <a:lnTo>
                    <a:pt x="279" y="973"/>
                  </a:lnTo>
                  <a:lnTo>
                    <a:pt x="264" y="981"/>
                  </a:lnTo>
                  <a:lnTo>
                    <a:pt x="250" y="991"/>
                  </a:lnTo>
                  <a:lnTo>
                    <a:pt x="236" y="1002"/>
                  </a:lnTo>
                  <a:lnTo>
                    <a:pt x="225" y="1012"/>
                  </a:lnTo>
                  <a:lnTo>
                    <a:pt x="214" y="1026"/>
                  </a:lnTo>
                  <a:lnTo>
                    <a:pt x="205" y="1040"/>
                  </a:lnTo>
                  <a:lnTo>
                    <a:pt x="196" y="1056"/>
                  </a:lnTo>
                  <a:lnTo>
                    <a:pt x="191" y="1073"/>
                  </a:lnTo>
                  <a:lnTo>
                    <a:pt x="185" y="1091"/>
                  </a:lnTo>
                  <a:lnTo>
                    <a:pt x="183" y="1110"/>
                  </a:lnTo>
                  <a:lnTo>
                    <a:pt x="183" y="1131"/>
                  </a:lnTo>
                  <a:lnTo>
                    <a:pt x="183" y="2253"/>
                  </a:lnTo>
                  <a:lnTo>
                    <a:pt x="361" y="2253"/>
                  </a:lnTo>
                  <a:lnTo>
                    <a:pt x="404" y="2069"/>
                  </a:lnTo>
                  <a:lnTo>
                    <a:pt x="404" y="1504"/>
                  </a:lnTo>
                  <a:lnTo>
                    <a:pt x="334" y="1184"/>
                  </a:lnTo>
                  <a:lnTo>
                    <a:pt x="387" y="1172"/>
                  </a:lnTo>
                  <a:lnTo>
                    <a:pt x="459" y="1499"/>
                  </a:lnTo>
                  <a:lnTo>
                    <a:pt x="459" y="2072"/>
                  </a:lnTo>
                  <a:lnTo>
                    <a:pt x="1050" y="2072"/>
                  </a:lnTo>
                  <a:lnTo>
                    <a:pt x="1050" y="1499"/>
                  </a:lnTo>
                  <a:lnTo>
                    <a:pt x="1123" y="1172"/>
                  </a:lnTo>
                  <a:lnTo>
                    <a:pt x="1176" y="1184"/>
                  </a:lnTo>
                  <a:lnTo>
                    <a:pt x="1105" y="1504"/>
                  </a:lnTo>
                  <a:lnTo>
                    <a:pt x="1105" y="2069"/>
                  </a:lnTo>
                  <a:lnTo>
                    <a:pt x="1147" y="2253"/>
                  </a:lnTo>
                  <a:lnTo>
                    <a:pt x="1327" y="2253"/>
                  </a:lnTo>
                  <a:lnTo>
                    <a:pt x="1327" y="1131"/>
                  </a:lnTo>
                  <a:lnTo>
                    <a:pt x="1326" y="1110"/>
                  </a:lnTo>
                  <a:lnTo>
                    <a:pt x="1323" y="1092"/>
                  </a:lnTo>
                  <a:lnTo>
                    <a:pt x="1319" y="1073"/>
                  </a:lnTo>
                  <a:lnTo>
                    <a:pt x="1314" y="1056"/>
                  </a:lnTo>
                  <a:lnTo>
                    <a:pt x="1305" y="1041"/>
                  </a:lnTo>
                  <a:lnTo>
                    <a:pt x="1297" y="1028"/>
                  </a:lnTo>
                  <a:lnTo>
                    <a:pt x="1286" y="1014"/>
                  </a:lnTo>
                  <a:lnTo>
                    <a:pt x="1275" y="1002"/>
                  </a:lnTo>
                  <a:lnTo>
                    <a:pt x="1263" y="992"/>
                  </a:lnTo>
                  <a:lnTo>
                    <a:pt x="1249" y="982"/>
                  </a:lnTo>
                  <a:lnTo>
                    <a:pt x="1234" y="973"/>
                  </a:lnTo>
                  <a:lnTo>
                    <a:pt x="1219" y="966"/>
                  </a:lnTo>
                  <a:lnTo>
                    <a:pt x="1202" y="959"/>
                  </a:lnTo>
                  <a:lnTo>
                    <a:pt x="1186" y="955"/>
                  </a:lnTo>
                  <a:lnTo>
                    <a:pt x="1169" y="951"/>
                  </a:lnTo>
                  <a:lnTo>
                    <a:pt x="1151" y="947"/>
                  </a:lnTo>
                  <a:lnTo>
                    <a:pt x="956" y="919"/>
                  </a:lnTo>
                  <a:close/>
                  <a:moveTo>
                    <a:pt x="349" y="2308"/>
                  </a:moveTo>
                  <a:lnTo>
                    <a:pt x="183" y="2308"/>
                  </a:lnTo>
                  <a:lnTo>
                    <a:pt x="183" y="2311"/>
                  </a:lnTo>
                  <a:lnTo>
                    <a:pt x="282" y="2595"/>
                  </a:lnTo>
                  <a:lnTo>
                    <a:pt x="349" y="2308"/>
                  </a:lnTo>
                  <a:close/>
                  <a:moveTo>
                    <a:pt x="1327" y="2308"/>
                  </a:moveTo>
                  <a:lnTo>
                    <a:pt x="1160" y="2308"/>
                  </a:lnTo>
                  <a:lnTo>
                    <a:pt x="1227" y="2607"/>
                  </a:lnTo>
                  <a:lnTo>
                    <a:pt x="1327" y="2311"/>
                  </a:lnTo>
                  <a:lnTo>
                    <a:pt x="1327" y="2308"/>
                  </a:lnTo>
                  <a:close/>
                  <a:moveTo>
                    <a:pt x="1085" y="372"/>
                  </a:moveTo>
                  <a:lnTo>
                    <a:pt x="1085" y="445"/>
                  </a:lnTo>
                  <a:lnTo>
                    <a:pt x="1084" y="473"/>
                  </a:lnTo>
                  <a:lnTo>
                    <a:pt x="1081" y="496"/>
                  </a:lnTo>
                  <a:lnTo>
                    <a:pt x="1079" y="506"/>
                  </a:lnTo>
                  <a:lnTo>
                    <a:pt x="1076" y="515"/>
                  </a:lnTo>
                  <a:lnTo>
                    <a:pt x="1072" y="522"/>
                  </a:lnTo>
                  <a:lnTo>
                    <a:pt x="1068" y="529"/>
                  </a:lnTo>
                  <a:lnTo>
                    <a:pt x="1063" y="534"/>
                  </a:lnTo>
                  <a:lnTo>
                    <a:pt x="1058" y="540"/>
                  </a:lnTo>
                  <a:lnTo>
                    <a:pt x="1052" y="544"/>
                  </a:lnTo>
                  <a:lnTo>
                    <a:pt x="1047" y="547"/>
                  </a:lnTo>
                  <a:lnTo>
                    <a:pt x="1033" y="551"/>
                  </a:lnTo>
                  <a:lnTo>
                    <a:pt x="1018" y="552"/>
                  </a:lnTo>
                  <a:lnTo>
                    <a:pt x="1010" y="577"/>
                  </a:lnTo>
                  <a:lnTo>
                    <a:pt x="1025" y="587"/>
                  </a:lnTo>
                  <a:lnTo>
                    <a:pt x="1041" y="596"/>
                  </a:lnTo>
                  <a:lnTo>
                    <a:pt x="1058" y="603"/>
                  </a:lnTo>
                  <a:lnTo>
                    <a:pt x="1074" y="609"/>
                  </a:lnTo>
                  <a:lnTo>
                    <a:pt x="1092" y="614"/>
                  </a:lnTo>
                  <a:lnTo>
                    <a:pt x="1112" y="617"/>
                  </a:lnTo>
                  <a:lnTo>
                    <a:pt x="1129" y="618"/>
                  </a:lnTo>
                  <a:lnTo>
                    <a:pt x="1149" y="617"/>
                  </a:lnTo>
                  <a:lnTo>
                    <a:pt x="1151" y="617"/>
                  </a:lnTo>
                  <a:lnTo>
                    <a:pt x="1149" y="631"/>
                  </a:lnTo>
                  <a:lnTo>
                    <a:pt x="1146" y="643"/>
                  </a:lnTo>
                  <a:lnTo>
                    <a:pt x="1140" y="654"/>
                  </a:lnTo>
                  <a:lnTo>
                    <a:pt x="1135" y="666"/>
                  </a:lnTo>
                  <a:lnTo>
                    <a:pt x="1128" y="677"/>
                  </a:lnTo>
                  <a:lnTo>
                    <a:pt x="1120" y="687"/>
                  </a:lnTo>
                  <a:lnTo>
                    <a:pt x="1112" y="697"/>
                  </a:lnTo>
                  <a:lnTo>
                    <a:pt x="1102" y="706"/>
                  </a:lnTo>
                  <a:lnTo>
                    <a:pt x="1091" y="714"/>
                  </a:lnTo>
                  <a:lnTo>
                    <a:pt x="1080" y="721"/>
                  </a:lnTo>
                  <a:lnTo>
                    <a:pt x="1068" y="728"/>
                  </a:lnTo>
                  <a:lnTo>
                    <a:pt x="1055" y="734"/>
                  </a:lnTo>
                  <a:lnTo>
                    <a:pt x="1041" y="739"/>
                  </a:lnTo>
                  <a:lnTo>
                    <a:pt x="1028" y="743"/>
                  </a:lnTo>
                  <a:lnTo>
                    <a:pt x="1014" y="746"/>
                  </a:lnTo>
                  <a:lnTo>
                    <a:pt x="999" y="747"/>
                  </a:lnTo>
                  <a:lnTo>
                    <a:pt x="984" y="747"/>
                  </a:lnTo>
                  <a:lnTo>
                    <a:pt x="970" y="747"/>
                  </a:lnTo>
                  <a:lnTo>
                    <a:pt x="958" y="746"/>
                  </a:lnTo>
                  <a:lnTo>
                    <a:pt x="944" y="743"/>
                  </a:lnTo>
                  <a:lnTo>
                    <a:pt x="930" y="740"/>
                  </a:lnTo>
                  <a:lnTo>
                    <a:pt x="918" y="736"/>
                  </a:lnTo>
                  <a:lnTo>
                    <a:pt x="905" y="732"/>
                  </a:lnTo>
                  <a:lnTo>
                    <a:pt x="893" y="727"/>
                  </a:lnTo>
                  <a:lnTo>
                    <a:pt x="878" y="736"/>
                  </a:lnTo>
                  <a:lnTo>
                    <a:pt x="861" y="743"/>
                  </a:lnTo>
                  <a:lnTo>
                    <a:pt x="846" y="750"/>
                  </a:lnTo>
                  <a:lnTo>
                    <a:pt x="829" y="757"/>
                  </a:lnTo>
                  <a:lnTo>
                    <a:pt x="812" y="761"/>
                  </a:lnTo>
                  <a:lnTo>
                    <a:pt x="794" y="764"/>
                  </a:lnTo>
                  <a:lnTo>
                    <a:pt x="776" y="767"/>
                  </a:lnTo>
                  <a:lnTo>
                    <a:pt x="757" y="767"/>
                  </a:lnTo>
                  <a:lnTo>
                    <a:pt x="738" y="767"/>
                  </a:lnTo>
                  <a:lnTo>
                    <a:pt x="719" y="764"/>
                  </a:lnTo>
                  <a:lnTo>
                    <a:pt x="699" y="760"/>
                  </a:lnTo>
                  <a:lnTo>
                    <a:pt x="681" y="756"/>
                  </a:lnTo>
                  <a:lnTo>
                    <a:pt x="664" y="749"/>
                  </a:lnTo>
                  <a:lnTo>
                    <a:pt x="646" y="740"/>
                  </a:lnTo>
                  <a:lnTo>
                    <a:pt x="629" y="732"/>
                  </a:lnTo>
                  <a:lnTo>
                    <a:pt x="614" y="721"/>
                  </a:lnTo>
                  <a:lnTo>
                    <a:pt x="600" y="728"/>
                  </a:lnTo>
                  <a:lnTo>
                    <a:pt x="587" y="734"/>
                  </a:lnTo>
                  <a:lnTo>
                    <a:pt x="573" y="739"/>
                  </a:lnTo>
                  <a:lnTo>
                    <a:pt x="559" y="742"/>
                  </a:lnTo>
                  <a:lnTo>
                    <a:pt x="544" y="745"/>
                  </a:lnTo>
                  <a:lnTo>
                    <a:pt x="529" y="747"/>
                  </a:lnTo>
                  <a:lnTo>
                    <a:pt x="514" y="747"/>
                  </a:lnTo>
                  <a:lnTo>
                    <a:pt x="499" y="747"/>
                  </a:lnTo>
                  <a:lnTo>
                    <a:pt x="484" y="746"/>
                  </a:lnTo>
                  <a:lnTo>
                    <a:pt x="469" y="743"/>
                  </a:lnTo>
                  <a:lnTo>
                    <a:pt x="455" y="739"/>
                  </a:lnTo>
                  <a:lnTo>
                    <a:pt x="441" y="734"/>
                  </a:lnTo>
                  <a:lnTo>
                    <a:pt x="429" y="728"/>
                  </a:lnTo>
                  <a:lnTo>
                    <a:pt x="416" y="721"/>
                  </a:lnTo>
                  <a:lnTo>
                    <a:pt x="405" y="714"/>
                  </a:lnTo>
                  <a:lnTo>
                    <a:pt x="394" y="706"/>
                  </a:lnTo>
                  <a:lnTo>
                    <a:pt x="385" y="697"/>
                  </a:lnTo>
                  <a:lnTo>
                    <a:pt x="376" y="687"/>
                  </a:lnTo>
                  <a:lnTo>
                    <a:pt x="368" y="677"/>
                  </a:lnTo>
                  <a:lnTo>
                    <a:pt x="361" y="666"/>
                  </a:lnTo>
                  <a:lnTo>
                    <a:pt x="356" y="654"/>
                  </a:lnTo>
                  <a:lnTo>
                    <a:pt x="352" y="643"/>
                  </a:lnTo>
                  <a:lnTo>
                    <a:pt x="348" y="631"/>
                  </a:lnTo>
                  <a:lnTo>
                    <a:pt x="345" y="617"/>
                  </a:lnTo>
                  <a:lnTo>
                    <a:pt x="348" y="617"/>
                  </a:lnTo>
                  <a:lnTo>
                    <a:pt x="370" y="618"/>
                  </a:lnTo>
                  <a:lnTo>
                    <a:pt x="390" y="615"/>
                  </a:lnTo>
                  <a:lnTo>
                    <a:pt x="411" y="613"/>
                  </a:lnTo>
                  <a:lnTo>
                    <a:pt x="430" y="606"/>
                  </a:lnTo>
                  <a:lnTo>
                    <a:pt x="449" y="599"/>
                  </a:lnTo>
                  <a:lnTo>
                    <a:pt x="469" y="589"/>
                  </a:lnTo>
                  <a:lnTo>
                    <a:pt x="485" y="578"/>
                  </a:lnTo>
                  <a:lnTo>
                    <a:pt x="500" y="566"/>
                  </a:lnTo>
                  <a:lnTo>
                    <a:pt x="496" y="552"/>
                  </a:lnTo>
                  <a:lnTo>
                    <a:pt x="478" y="552"/>
                  </a:lnTo>
                  <a:lnTo>
                    <a:pt x="469" y="552"/>
                  </a:lnTo>
                  <a:lnTo>
                    <a:pt x="462" y="551"/>
                  </a:lnTo>
                  <a:lnTo>
                    <a:pt x="453" y="548"/>
                  </a:lnTo>
                  <a:lnTo>
                    <a:pt x="447" y="544"/>
                  </a:lnTo>
                  <a:lnTo>
                    <a:pt x="440" y="540"/>
                  </a:lnTo>
                  <a:lnTo>
                    <a:pt x="434" y="534"/>
                  </a:lnTo>
                  <a:lnTo>
                    <a:pt x="430" y="529"/>
                  </a:lnTo>
                  <a:lnTo>
                    <a:pt x="425" y="521"/>
                  </a:lnTo>
                  <a:lnTo>
                    <a:pt x="422" y="511"/>
                  </a:lnTo>
                  <a:lnTo>
                    <a:pt x="418" y="501"/>
                  </a:lnTo>
                  <a:lnTo>
                    <a:pt x="416" y="489"/>
                  </a:lnTo>
                  <a:lnTo>
                    <a:pt x="414" y="477"/>
                  </a:lnTo>
                  <a:lnTo>
                    <a:pt x="412" y="445"/>
                  </a:lnTo>
                  <a:lnTo>
                    <a:pt x="412" y="372"/>
                  </a:lnTo>
                  <a:lnTo>
                    <a:pt x="412" y="353"/>
                  </a:lnTo>
                  <a:lnTo>
                    <a:pt x="414" y="335"/>
                  </a:lnTo>
                  <a:lnTo>
                    <a:pt x="419" y="299"/>
                  </a:lnTo>
                  <a:lnTo>
                    <a:pt x="427" y="264"/>
                  </a:lnTo>
                  <a:lnTo>
                    <a:pt x="438" y="231"/>
                  </a:lnTo>
                  <a:lnTo>
                    <a:pt x="452" y="198"/>
                  </a:lnTo>
                  <a:lnTo>
                    <a:pt x="469" y="168"/>
                  </a:lnTo>
                  <a:lnTo>
                    <a:pt x="486" y="139"/>
                  </a:lnTo>
                  <a:lnTo>
                    <a:pt x="508" y="113"/>
                  </a:lnTo>
                  <a:lnTo>
                    <a:pt x="532" y="88"/>
                  </a:lnTo>
                  <a:lnTo>
                    <a:pt x="544" y="77"/>
                  </a:lnTo>
                  <a:lnTo>
                    <a:pt x="558" y="66"/>
                  </a:lnTo>
                  <a:lnTo>
                    <a:pt x="572" y="56"/>
                  </a:lnTo>
                  <a:lnTo>
                    <a:pt x="585" y="47"/>
                  </a:lnTo>
                  <a:lnTo>
                    <a:pt x="600" y="38"/>
                  </a:lnTo>
                  <a:lnTo>
                    <a:pt x="616" y="30"/>
                  </a:lnTo>
                  <a:lnTo>
                    <a:pt x="631" y="23"/>
                  </a:lnTo>
                  <a:lnTo>
                    <a:pt x="646" y="18"/>
                  </a:lnTo>
                  <a:lnTo>
                    <a:pt x="662" y="12"/>
                  </a:lnTo>
                  <a:lnTo>
                    <a:pt x="679" y="8"/>
                  </a:lnTo>
                  <a:lnTo>
                    <a:pt x="697" y="5"/>
                  </a:lnTo>
                  <a:lnTo>
                    <a:pt x="713" y="3"/>
                  </a:lnTo>
                  <a:lnTo>
                    <a:pt x="731" y="1"/>
                  </a:lnTo>
                  <a:lnTo>
                    <a:pt x="749" y="0"/>
                  </a:lnTo>
                  <a:lnTo>
                    <a:pt x="767" y="1"/>
                  </a:lnTo>
                  <a:lnTo>
                    <a:pt x="785" y="3"/>
                  </a:lnTo>
                  <a:lnTo>
                    <a:pt x="801" y="5"/>
                  </a:lnTo>
                  <a:lnTo>
                    <a:pt x="819" y="8"/>
                  </a:lnTo>
                  <a:lnTo>
                    <a:pt x="835" y="12"/>
                  </a:lnTo>
                  <a:lnTo>
                    <a:pt x="852" y="18"/>
                  </a:lnTo>
                  <a:lnTo>
                    <a:pt x="867" y="23"/>
                  </a:lnTo>
                  <a:lnTo>
                    <a:pt x="882" y="30"/>
                  </a:lnTo>
                  <a:lnTo>
                    <a:pt x="897" y="38"/>
                  </a:lnTo>
                  <a:lnTo>
                    <a:pt x="912" y="47"/>
                  </a:lnTo>
                  <a:lnTo>
                    <a:pt x="926" y="56"/>
                  </a:lnTo>
                  <a:lnTo>
                    <a:pt x="940" y="66"/>
                  </a:lnTo>
                  <a:lnTo>
                    <a:pt x="954" y="77"/>
                  </a:lnTo>
                  <a:lnTo>
                    <a:pt x="966" y="88"/>
                  </a:lnTo>
                  <a:lnTo>
                    <a:pt x="989" y="113"/>
                  </a:lnTo>
                  <a:lnTo>
                    <a:pt x="1011" y="139"/>
                  </a:lnTo>
                  <a:lnTo>
                    <a:pt x="1029" y="168"/>
                  </a:lnTo>
                  <a:lnTo>
                    <a:pt x="1046" y="198"/>
                  </a:lnTo>
                  <a:lnTo>
                    <a:pt x="1059" y="231"/>
                  </a:lnTo>
                  <a:lnTo>
                    <a:pt x="1070" y="264"/>
                  </a:lnTo>
                  <a:lnTo>
                    <a:pt x="1079" y="299"/>
                  </a:lnTo>
                  <a:lnTo>
                    <a:pt x="1084" y="335"/>
                  </a:lnTo>
                  <a:lnTo>
                    <a:pt x="1085" y="353"/>
                  </a:lnTo>
                  <a:lnTo>
                    <a:pt x="1085" y="372"/>
                  </a:lnTo>
                  <a:close/>
                  <a:moveTo>
                    <a:pt x="911" y="199"/>
                  </a:moveTo>
                  <a:lnTo>
                    <a:pt x="911" y="199"/>
                  </a:lnTo>
                  <a:lnTo>
                    <a:pt x="925" y="217"/>
                  </a:lnTo>
                  <a:lnTo>
                    <a:pt x="938" y="236"/>
                  </a:lnTo>
                  <a:lnTo>
                    <a:pt x="948" y="257"/>
                  </a:lnTo>
                  <a:lnTo>
                    <a:pt x="958" y="278"/>
                  </a:lnTo>
                  <a:lnTo>
                    <a:pt x="966" y="301"/>
                  </a:lnTo>
                  <a:lnTo>
                    <a:pt x="971" y="326"/>
                  </a:lnTo>
                  <a:lnTo>
                    <a:pt x="974" y="350"/>
                  </a:lnTo>
                  <a:lnTo>
                    <a:pt x="976" y="376"/>
                  </a:lnTo>
                  <a:lnTo>
                    <a:pt x="976" y="463"/>
                  </a:lnTo>
                  <a:lnTo>
                    <a:pt x="974" y="489"/>
                  </a:lnTo>
                  <a:lnTo>
                    <a:pt x="970" y="514"/>
                  </a:lnTo>
                  <a:lnTo>
                    <a:pt x="965" y="539"/>
                  </a:lnTo>
                  <a:lnTo>
                    <a:pt x="958" y="561"/>
                  </a:lnTo>
                  <a:lnTo>
                    <a:pt x="948" y="582"/>
                  </a:lnTo>
                  <a:lnTo>
                    <a:pt x="937" y="603"/>
                  </a:lnTo>
                  <a:lnTo>
                    <a:pt x="925" y="622"/>
                  </a:lnTo>
                  <a:lnTo>
                    <a:pt x="911" y="640"/>
                  </a:lnTo>
                  <a:lnTo>
                    <a:pt x="894" y="657"/>
                  </a:lnTo>
                  <a:lnTo>
                    <a:pt x="878" y="670"/>
                  </a:lnTo>
                  <a:lnTo>
                    <a:pt x="860" y="683"/>
                  </a:lnTo>
                  <a:lnTo>
                    <a:pt x="841" y="692"/>
                  </a:lnTo>
                  <a:lnTo>
                    <a:pt x="822" y="701"/>
                  </a:lnTo>
                  <a:lnTo>
                    <a:pt x="801" y="708"/>
                  </a:lnTo>
                  <a:lnTo>
                    <a:pt x="779" y="710"/>
                  </a:lnTo>
                  <a:lnTo>
                    <a:pt x="757" y="712"/>
                  </a:lnTo>
                  <a:lnTo>
                    <a:pt x="735" y="710"/>
                  </a:lnTo>
                  <a:lnTo>
                    <a:pt x="714" y="708"/>
                  </a:lnTo>
                  <a:lnTo>
                    <a:pt x="694" y="701"/>
                  </a:lnTo>
                  <a:lnTo>
                    <a:pt x="673" y="692"/>
                  </a:lnTo>
                  <a:lnTo>
                    <a:pt x="655" y="683"/>
                  </a:lnTo>
                  <a:lnTo>
                    <a:pt x="636" y="670"/>
                  </a:lnTo>
                  <a:lnTo>
                    <a:pt x="620" y="657"/>
                  </a:lnTo>
                  <a:lnTo>
                    <a:pt x="605" y="640"/>
                  </a:lnTo>
                  <a:lnTo>
                    <a:pt x="591" y="622"/>
                  </a:lnTo>
                  <a:lnTo>
                    <a:pt x="577" y="603"/>
                  </a:lnTo>
                  <a:lnTo>
                    <a:pt x="566" y="582"/>
                  </a:lnTo>
                  <a:lnTo>
                    <a:pt x="556" y="561"/>
                  </a:lnTo>
                  <a:lnTo>
                    <a:pt x="550" y="539"/>
                  </a:lnTo>
                  <a:lnTo>
                    <a:pt x="544" y="514"/>
                  </a:lnTo>
                  <a:lnTo>
                    <a:pt x="540" y="489"/>
                  </a:lnTo>
                  <a:lnTo>
                    <a:pt x="540" y="463"/>
                  </a:lnTo>
                  <a:lnTo>
                    <a:pt x="540" y="434"/>
                  </a:lnTo>
                  <a:lnTo>
                    <a:pt x="569" y="438"/>
                  </a:lnTo>
                  <a:lnTo>
                    <a:pt x="599" y="440"/>
                  </a:lnTo>
                  <a:lnTo>
                    <a:pt x="627" y="438"/>
                  </a:lnTo>
                  <a:lnTo>
                    <a:pt x="654" y="434"/>
                  </a:lnTo>
                  <a:lnTo>
                    <a:pt x="680" y="429"/>
                  </a:lnTo>
                  <a:lnTo>
                    <a:pt x="705" y="422"/>
                  </a:lnTo>
                  <a:lnTo>
                    <a:pt x="730" y="412"/>
                  </a:lnTo>
                  <a:lnTo>
                    <a:pt x="753" y="400"/>
                  </a:lnTo>
                  <a:lnTo>
                    <a:pt x="776" y="386"/>
                  </a:lnTo>
                  <a:lnTo>
                    <a:pt x="797" y="371"/>
                  </a:lnTo>
                  <a:lnTo>
                    <a:pt x="818" y="354"/>
                  </a:lnTo>
                  <a:lnTo>
                    <a:pt x="835" y="337"/>
                  </a:lnTo>
                  <a:lnTo>
                    <a:pt x="852" y="316"/>
                  </a:lnTo>
                  <a:lnTo>
                    <a:pt x="868" y="295"/>
                  </a:lnTo>
                  <a:lnTo>
                    <a:pt x="882" y="273"/>
                  </a:lnTo>
                  <a:lnTo>
                    <a:pt x="893" y="250"/>
                  </a:lnTo>
                  <a:lnTo>
                    <a:pt x="903" y="225"/>
                  </a:lnTo>
                  <a:lnTo>
                    <a:pt x="911" y="199"/>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646464"/>
                </a:solidFill>
              </a:endParaRPr>
            </a:p>
          </p:txBody>
        </p:sp>
        <p:sp>
          <p:nvSpPr>
            <p:cNvPr id="31" name="Freeform 108"/>
            <p:cNvSpPr>
              <a:spLocks noChangeAspect="1" noEditPoints="1"/>
            </p:cNvSpPr>
            <p:nvPr/>
          </p:nvSpPr>
          <p:spPr bwMode="auto">
            <a:xfrm>
              <a:off x="6457953" y="4932759"/>
              <a:ext cx="128183" cy="359148"/>
            </a:xfrm>
            <a:custGeom>
              <a:avLst/>
              <a:gdLst>
                <a:gd name="T0" fmla="*/ 2147483647 w 1700"/>
                <a:gd name="T1" fmla="*/ 2147483647 h 4763"/>
                <a:gd name="T2" fmla="*/ 2147483647 w 1700"/>
                <a:gd name="T3" fmla="*/ 2147483647 h 4763"/>
                <a:gd name="T4" fmla="*/ 2147483647 w 1700"/>
                <a:gd name="T5" fmla="*/ 2147483647 h 4763"/>
                <a:gd name="T6" fmla="*/ 2147483647 w 1700"/>
                <a:gd name="T7" fmla="*/ 2147483647 h 4763"/>
                <a:gd name="T8" fmla="*/ 2147483647 w 1700"/>
                <a:gd name="T9" fmla="*/ 2147483647 h 4763"/>
                <a:gd name="T10" fmla="*/ 2147483647 w 1700"/>
                <a:gd name="T11" fmla="*/ 2147483647 h 4763"/>
                <a:gd name="T12" fmla="*/ 2147483647 w 1700"/>
                <a:gd name="T13" fmla="*/ 2147483647 h 4763"/>
                <a:gd name="T14" fmla="*/ 2147483647 w 1700"/>
                <a:gd name="T15" fmla="*/ 2147483647 h 4763"/>
                <a:gd name="T16" fmla="*/ 2147483647 w 1700"/>
                <a:gd name="T17" fmla="*/ 2147483647 h 4763"/>
                <a:gd name="T18" fmla="*/ 2147483647 w 1700"/>
                <a:gd name="T19" fmla="*/ 2147483647 h 4763"/>
                <a:gd name="T20" fmla="*/ 2147483647 w 1700"/>
                <a:gd name="T21" fmla="*/ 2147483647 h 4763"/>
                <a:gd name="T22" fmla="*/ 2147483647 w 1700"/>
                <a:gd name="T23" fmla="*/ 2147483647 h 4763"/>
                <a:gd name="T24" fmla="*/ 2147483647 w 1700"/>
                <a:gd name="T25" fmla="*/ 2147483647 h 4763"/>
                <a:gd name="T26" fmla="*/ 2147483647 w 1700"/>
                <a:gd name="T27" fmla="*/ 2147483647 h 4763"/>
                <a:gd name="T28" fmla="*/ 2147483647 w 1700"/>
                <a:gd name="T29" fmla="*/ 2147483647 h 4763"/>
                <a:gd name="T30" fmla="*/ 2147483647 w 1700"/>
                <a:gd name="T31" fmla="*/ 2147483647 h 4763"/>
                <a:gd name="T32" fmla="*/ 2147483647 w 1700"/>
                <a:gd name="T33" fmla="*/ 2147483647 h 4763"/>
                <a:gd name="T34" fmla="*/ 2147483647 w 1700"/>
                <a:gd name="T35" fmla="*/ 2147483647 h 4763"/>
                <a:gd name="T36" fmla="*/ 2147483647 w 1700"/>
                <a:gd name="T37" fmla="*/ 2147483647 h 4763"/>
                <a:gd name="T38" fmla="*/ 2147483647 w 1700"/>
                <a:gd name="T39" fmla="*/ 2147483647 h 4763"/>
                <a:gd name="T40" fmla="*/ 2147483647 w 1700"/>
                <a:gd name="T41" fmla="*/ 0 h 4763"/>
                <a:gd name="T42" fmla="*/ 2147483647 w 1700"/>
                <a:gd name="T43" fmla="*/ 2147483647 h 4763"/>
                <a:gd name="T44" fmla="*/ 2147483647 w 1700"/>
                <a:gd name="T45" fmla="*/ 2147483647 h 4763"/>
                <a:gd name="T46" fmla="*/ 2147483647 w 1700"/>
                <a:gd name="T47" fmla="*/ 2147483647 h 4763"/>
                <a:gd name="T48" fmla="*/ 2147483647 w 1700"/>
                <a:gd name="T49" fmla="*/ 2147483647 h 4763"/>
                <a:gd name="T50" fmla="*/ 2147483647 w 1700"/>
                <a:gd name="T51" fmla="*/ 2147483647 h 4763"/>
                <a:gd name="T52" fmla="*/ 2147483647 w 1700"/>
                <a:gd name="T53" fmla="*/ 2147483647 h 4763"/>
                <a:gd name="T54" fmla="*/ 2147483647 w 1700"/>
                <a:gd name="T55" fmla="*/ 2147483647 h 4763"/>
                <a:gd name="T56" fmla="*/ 2147483647 w 1700"/>
                <a:gd name="T57" fmla="*/ 2147483647 h 4763"/>
                <a:gd name="T58" fmla="*/ 2147483647 w 1700"/>
                <a:gd name="T59" fmla="*/ 2147483647 h 4763"/>
                <a:gd name="T60" fmla="*/ 2147483647 w 1700"/>
                <a:gd name="T61" fmla="*/ 2147483647 h 4763"/>
                <a:gd name="T62" fmla="*/ 2147483647 w 1700"/>
                <a:gd name="T63" fmla="*/ 2147483647 h 4763"/>
                <a:gd name="T64" fmla="*/ 2147483647 w 1700"/>
                <a:gd name="T65" fmla="*/ 2147483647 h 4763"/>
                <a:gd name="T66" fmla="*/ 2147483647 w 1700"/>
                <a:gd name="T67" fmla="*/ 2147483647 h 4763"/>
                <a:gd name="T68" fmla="*/ 2147483647 w 1700"/>
                <a:gd name="T69" fmla="*/ 2147483647 h 4763"/>
                <a:gd name="T70" fmla="*/ 2147483647 w 1700"/>
                <a:gd name="T71" fmla="*/ 2147483647 h 4763"/>
                <a:gd name="T72" fmla="*/ 2147483647 w 1700"/>
                <a:gd name="T73" fmla="*/ 2147483647 h 4763"/>
                <a:gd name="T74" fmla="*/ 2147483647 w 1700"/>
                <a:gd name="T75" fmla="*/ 2147483647 h 4763"/>
                <a:gd name="T76" fmla="*/ 2147483647 w 1700"/>
                <a:gd name="T77" fmla="*/ 2147483647 h 4763"/>
                <a:gd name="T78" fmla="*/ 2147483647 w 1700"/>
                <a:gd name="T79" fmla="*/ 2147483647 h 4763"/>
                <a:gd name="T80" fmla="*/ 2147483647 w 1700"/>
                <a:gd name="T81" fmla="*/ 2147483647 h 4763"/>
                <a:gd name="T82" fmla="*/ 2147483647 w 1700"/>
                <a:gd name="T83" fmla="*/ 2147483647 h 4763"/>
                <a:gd name="T84" fmla="*/ 2147483647 w 1700"/>
                <a:gd name="T85" fmla="*/ 2147483647 h 4763"/>
                <a:gd name="T86" fmla="*/ 2147483647 w 1700"/>
                <a:gd name="T87" fmla="*/ 2147483647 h 4763"/>
                <a:gd name="T88" fmla="*/ 2147483647 w 1700"/>
                <a:gd name="T89" fmla="*/ 2147483647 h 4763"/>
                <a:gd name="T90" fmla="*/ 0 w 1700"/>
                <a:gd name="T91" fmla="*/ 2147483647 h 4763"/>
                <a:gd name="T92" fmla="*/ 2147483647 w 1700"/>
                <a:gd name="T93" fmla="*/ 2147483647 h 4763"/>
                <a:gd name="T94" fmla="*/ 2147483647 w 1700"/>
                <a:gd name="T95" fmla="*/ 2147483647 h 4763"/>
                <a:gd name="T96" fmla="*/ 2147483647 w 1700"/>
                <a:gd name="T97" fmla="*/ 2147483647 h 4763"/>
                <a:gd name="T98" fmla="*/ 2147483647 w 1700"/>
                <a:gd name="T99" fmla="*/ 2147483647 h 4763"/>
                <a:gd name="T100" fmla="*/ 2147483647 w 1700"/>
                <a:gd name="T101" fmla="*/ 2147483647 h 4763"/>
                <a:gd name="T102" fmla="*/ 2147483647 w 1700"/>
                <a:gd name="T103" fmla="*/ 2147483647 h 4763"/>
                <a:gd name="T104" fmla="*/ 2147483647 w 1700"/>
                <a:gd name="T105" fmla="*/ 2147483647 h 4763"/>
                <a:gd name="T106" fmla="*/ 2147483647 w 1700"/>
                <a:gd name="T107" fmla="*/ 2147483647 h 4763"/>
                <a:gd name="T108" fmla="*/ 2147483647 w 1700"/>
                <a:gd name="T109" fmla="*/ 2147483647 h 4763"/>
                <a:gd name="T110" fmla="*/ 2147483647 w 1700"/>
                <a:gd name="T111" fmla="*/ 2147483647 h 4763"/>
                <a:gd name="T112" fmla="*/ 2147483647 w 1700"/>
                <a:gd name="T113" fmla="*/ 2147483647 h 4763"/>
                <a:gd name="T114" fmla="*/ 2147483647 w 1700"/>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00"/>
                <a:gd name="T175" fmla="*/ 0 h 4763"/>
                <a:gd name="T176" fmla="*/ 1700 w 1700"/>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00" h="4763">
                  <a:moveTo>
                    <a:pt x="638" y="216"/>
                  </a:moveTo>
                  <a:lnTo>
                    <a:pt x="638" y="216"/>
                  </a:lnTo>
                  <a:lnTo>
                    <a:pt x="634" y="235"/>
                  </a:lnTo>
                  <a:lnTo>
                    <a:pt x="630" y="255"/>
                  </a:lnTo>
                  <a:lnTo>
                    <a:pt x="628" y="276"/>
                  </a:lnTo>
                  <a:lnTo>
                    <a:pt x="628" y="297"/>
                  </a:lnTo>
                  <a:lnTo>
                    <a:pt x="628" y="368"/>
                  </a:lnTo>
                  <a:lnTo>
                    <a:pt x="628" y="393"/>
                  </a:lnTo>
                  <a:lnTo>
                    <a:pt x="632" y="418"/>
                  </a:lnTo>
                  <a:lnTo>
                    <a:pt x="637" y="442"/>
                  </a:lnTo>
                  <a:lnTo>
                    <a:pt x="645" y="465"/>
                  </a:lnTo>
                  <a:lnTo>
                    <a:pt x="653" y="486"/>
                  </a:lnTo>
                  <a:lnTo>
                    <a:pt x="665" y="506"/>
                  </a:lnTo>
                  <a:lnTo>
                    <a:pt x="677" y="525"/>
                  </a:lnTo>
                  <a:lnTo>
                    <a:pt x="691" y="542"/>
                  </a:lnTo>
                  <a:lnTo>
                    <a:pt x="706" y="558"/>
                  </a:lnTo>
                  <a:lnTo>
                    <a:pt x="723" y="571"/>
                  </a:lnTo>
                  <a:lnTo>
                    <a:pt x="741" y="583"/>
                  </a:lnTo>
                  <a:lnTo>
                    <a:pt x="759" y="594"/>
                  </a:lnTo>
                  <a:lnTo>
                    <a:pt x="778" y="602"/>
                  </a:lnTo>
                  <a:lnTo>
                    <a:pt x="799" y="607"/>
                  </a:lnTo>
                  <a:lnTo>
                    <a:pt x="819" y="611"/>
                  </a:lnTo>
                  <a:lnTo>
                    <a:pt x="841" y="612"/>
                  </a:lnTo>
                  <a:lnTo>
                    <a:pt x="863" y="611"/>
                  </a:lnTo>
                  <a:lnTo>
                    <a:pt x="883" y="607"/>
                  </a:lnTo>
                  <a:lnTo>
                    <a:pt x="904" y="602"/>
                  </a:lnTo>
                  <a:lnTo>
                    <a:pt x="922" y="594"/>
                  </a:lnTo>
                  <a:lnTo>
                    <a:pt x="941" y="583"/>
                  </a:lnTo>
                  <a:lnTo>
                    <a:pt x="959" y="571"/>
                  </a:lnTo>
                  <a:lnTo>
                    <a:pt x="975" y="558"/>
                  </a:lnTo>
                  <a:lnTo>
                    <a:pt x="990" y="542"/>
                  </a:lnTo>
                  <a:lnTo>
                    <a:pt x="1005" y="525"/>
                  </a:lnTo>
                  <a:lnTo>
                    <a:pt x="1017" y="506"/>
                  </a:lnTo>
                  <a:lnTo>
                    <a:pt x="1028" y="486"/>
                  </a:lnTo>
                  <a:lnTo>
                    <a:pt x="1036" y="465"/>
                  </a:lnTo>
                  <a:lnTo>
                    <a:pt x="1044" y="442"/>
                  </a:lnTo>
                  <a:lnTo>
                    <a:pt x="1050" y="418"/>
                  </a:lnTo>
                  <a:lnTo>
                    <a:pt x="1054" y="393"/>
                  </a:lnTo>
                  <a:lnTo>
                    <a:pt x="1054" y="368"/>
                  </a:lnTo>
                  <a:lnTo>
                    <a:pt x="1054" y="297"/>
                  </a:lnTo>
                  <a:lnTo>
                    <a:pt x="1054" y="274"/>
                  </a:lnTo>
                  <a:lnTo>
                    <a:pt x="1051" y="251"/>
                  </a:lnTo>
                  <a:lnTo>
                    <a:pt x="1046" y="230"/>
                  </a:lnTo>
                  <a:lnTo>
                    <a:pt x="1040" y="208"/>
                  </a:lnTo>
                  <a:lnTo>
                    <a:pt x="1032" y="198"/>
                  </a:lnTo>
                  <a:lnTo>
                    <a:pt x="1025" y="189"/>
                  </a:lnTo>
                  <a:lnTo>
                    <a:pt x="1017" y="179"/>
                  </a:lnTo>
                  <a:lnTo>
                    <a:pt x="1007" y="171"/>
                  </a:lnTo>
                  <a:lnTo>
                    <a:pt x="997" y="163"/>
                  </a:lnTo>
                  <a:lnTo>
                    <a:pt x="986" y="157"/>
                  </a:lnTo>
                  <a:lnTo>
                    <a:pt x="963" y="145"/>
                  </a:lnTo>
                  <a:lnTo>
                    <a:pt x="952" y="158"/>
                  </a:lnTo>
                  <a:lnTo>
                    <a:pt x="938" y="170"/>
                  </a:lnTo>
                  <a:lnTo>
                    <a:pt x="924" y="181"/>
                  </a:lnTo>
                  <a:lnTo>
                    <a:pt x="908" y="190"/>
                  </a:lnTo>
                  <a:lnTo>
                    <a:pt x="892" y="197"/>
                  </a:lnTo>
                  <a:lnTo>
                    <a:pt x="873" y="202"/>
                  </a:lnTo>
                  <a:lnTo>
                    <a:pt x="855" y="206"/>
                  </a:lnTo>
                  <a:lnTo>
                    <a:pt x="836" y="207"/>
                  </a:lnTo>
                  <a:lnTo>
                    <a:pt x="817" y="206"/>
                  </a:lnTo>
                  <a:lnTo>
                    <a:pt x="800" y="203"/>
                  </a:lnTo>
                  <a:lnTo>
                    <a:pt x="783" y="198"/>
                  </a:lnTo>
                  <a:lnTo>
                    <a:pt x="767" y="191"/>
                  </a:lnTo>
                  <a:lnTo>
                    <a:pt x="751" y="183"/>
                  </a:lnTo>
                  <a:lnTo>
                    <a:pt x="737" y="173"/>
                  </a:lnTo>
                  <a:lnTo>
                    <a:pt x="725" y="162"/>
                  </a:lnTo>
                  <a:lnTo>
                    <a:pt x="713" y="149"/>
                  </a:lnTo>
                  <a:lnTo>
                    <a:pt x="690" y="162"/>
                  </a:lnTo>
                  <a:lnTo>
                    <a:pt x="679" y="169"/>
                  </a:lnTo>
                  <a:lnTo>
                    <a:pt x="670" y="178"/>
                  </a:lnTo>
                  <a:lnTo>
                    <a:pt x="661" y="186"/>
                  </a:lnTo>
                  <a:lnTo>
                    <a:pt x="653" y="195"/>
                  </a:lnTo>
                  <a:lnTo>
                    <a:pt x="645" y="206"/>
                  </a:lnTo>
                  <a:lnTo>
                    <a:pt x="638" y="216"/>
                  </a:lnTo>
                  <a:close/>
                  <a:moveTo>
                    <a:pt x="841" y="0"/>
                  </a:moveTo>
                  <a:lnTo>
                    <a:pt x="841" y="0"/>
                  </a:lnTo>
                  <a:lnTo>
                    <a:pt x="868" y="1"/>
                  </a:lnTo>
                  <a:lnTo>
                    <a:pt x="896" y="5"/>
                  </a:lnTo>
                  <a:lnTo>
                    <a:pt x="921" y="13"/>
                  </a:lnTo>
                  <a:lnTo>
                    <a:pt x="946" y="24"/>
                  </a:lnTo>
                  <a:lnTo>
                    <a:pt x="969" y="36"/>
                  </a:lnTo>
                  <a:lnTo>
                    <a:pt x="991" y="50"/>
                  </a:lnTo>
                  <a:lnTo>
                    <a:pt x="1011" y="68"/>
                  </a:lnTo>
                  <a:lnTo>
                    <a:pt x="1031" y="88"/>
                  </a:lnTo>
                  <a:lnTo>
                    <a:pt x="1047" y="109"/>
                  </a:lnTo>
                  <a:lnTo>
                    <a:pt x="1063" y="131"/>
                  </a:lnTo>
                  <a:lnTo>
                    <a:pt x="1076" y="157"/>
                  </a:lnTo>
                  <a:lnTo>
                    <a:pt x="1087" y="182"/>
                  </a:lnTo>
                  <a:lnTo>
                    <a:pt x="1096" y="210"/>
                  </a:lnTo>
                  <a:lnTo>
                    <a:pt x="1103" y="238"/>
                  </a:lnTo>
                  <a:lnTo>
                    <a:pt x="1107" y="267"/>
                  </a:lnTo>
                  <a:lnTo>
                    <a:pt x="1107" y="296"/>
                  </a:lnTo>
                  <a:lnTo>
                    <a:pt x="1108" y="340"/>
                  </a:lnTo>
                  <a:lnTo>
                    <a:pt x="1108" y="369"/>
                  </a:lnTo>
                  <a:lnTo>
                    <a:pt x="1108" y="380"/>
                  </a:lnTo>
                  <a:lnTo>
                    <a:pt x="1107" y="385"/>
                  </a:lnTo>
                  <a:lnTo>
                    <a:pt x="1105" y="413"/>
                  </a:lnTo>
                  <a:lnTo>
                    <a:pt x="1101" y="441"/>
                  </a:lnTo>
                  <a:lnTo>
                    <a:pt x="1095" y="467"/>
                  </a:lnTo>
                  <a:lnTo>
                    <a:pt x="1086" y="494"/>
                  </a:lnTo>
                  <a:lnTo>
                    <a:pt x="1074" y="518"/>
                  </a:lnTo>
                  <a:lnTo>
                    <a:pt x="1060" y="542"/>
                  </a:lnTo>
                  <a:lnTo>
                    <a:pt x="1044" y="563"/>
                  </a:lnTo>
                  <a:lnTo>
                    <a:pt x="1027" y="583"/>
                  </a:lnTo>
                  <a:lnTo>
                    <a:pt x="1009" y="602"/>
                  </a:lnTo>
                  <a:lnTo>
                    <a:pt x="989" y="617"/>
                  </a:lnTo>
                  <a:lnTo>
                    <a:pt x="966" y="631"/>
                  </a:lnTo>
                  <a:lnTo>
                    <a:pt x="944" y="643"/>
                  </a:lnTo>
                  <a:lnTo>
                    <a:pt x="918" y="652"/>
                  </a:lnTo>
                  <a:lnTo>
                    <a:pt x="893" y="660"/>
                  </a:lnTo>
                  <a:lnTo>
                    <a:pt x="868" y="664"/>
                  </a:lnTo>
                  <a:lnTo>
                    <a:pt x="841" y="665"/>
                  </a:lnTo>
                  <a:lnTo>
                    <a:pt x="814" y="664"/>
                  </a:lnTo>
                  <a:lnTo>
                    <a:pt x="788" y="660"/>
                  </a:lnTo>
                  <a:lnTo>
                    <a:pt x="763" y="652"/>
                  </a:lnTo>
                  <a:lnTo>
                    <a:pt x="738" y="643"/>
                  </a:lnTo>
                  <a:lnTo>
                    <a:pt x="715" y="631"/>
                  </a:lnTo>
                  <a:lnTo>
                    <a:pt x="693" y="617"/>
                  </a:lnTo>
                  <a:lnTo>
                    <a:pt x="673" y="602"/>
                  </a:lnTo>
                  <a:lnTo>
                    <a:pt x="654" y="583"/>
                  </a:lnTo>
                  <a:lnTo>
                    <a:pt x="637" y="563"/>
                  </a:lnTo>
                  <a:lnTo>
                    <a:pt x="621" y="542"/>
                  </a:lnTo>
                  <a:lnTo>
                    <a:pt x="608" y="518"/>
                  </a:lnTo>
                  <a:lnTo>
                    <a:pt x="596" y="494"/>
                  </a:lnTo>
                  <a:lnTo>
                    <a:pt x="587" y="467"/>
                  </a:lnTo>
                  <a:lnTo>
                    <a:pt x="580" y="441"/>
                  </a:lnTo>
                  <a:lnTo>
                    <a:pt x="576" y="413"/>
                  </a:lnTo>
                  <a:lnTo>
                    <a:pt x="575" y="385"/>
                  </a:lnTo>
                  <a:lnTo>
                    <a:pt x="573" y="380"/>
                  </a:lnTo>
                  <a:lnTo>
                    <a:pt x="573" y="369"/>
                  </a:lnTo>
                  <a:lnTo>
                    <a:pt x="573" y="340"/>
                  </a:lnTo>
                  <a:lnTo>
                    <a:pt x="575" y="297"/>
                  </a:lnTo>
                  <a:lnTo>
                    <a:pt x="576" y="267"/>
                  </a:lnTo>
                  <a:lnTo>
                    <a:pt x="579" y="238"/>
                  </a:lnTo>
                  <a:lnTo>
                    <a:pt x="585" y="210"/>
                  </a:lnTo>
                  <a:lnTo>
                    <a:pt x="595" y="182"/>
                  </a:lnTo>
                  <a:lnTo>
                    <a:pt x="605" y="157"/>
                  </a:lnTo>
                  <a:lnTo>
                    <a:pt x="618" y="131"/>
                  </a:lnTo>
                  <a:lnTo>
                    <a:pt x="634" y="109"/>
                  </a:lnTo>
                  <a:lnTo>
                    <a:pt x="650" y="88"/>
                  </a:lnTo>
                  <a:lnTo>
                    <a:pt x="670" y="69"/>
                  </a:lnTo>
                  <a:lnTo>
                    <a:pt x="690" y="50"/>
                  </a:lnTo>
                  <a:lnTo>
                    <a:pt x="713" y="36"/>
                  </a:lnTo>
                  <a:lnTo>
                    <a:pt x="735" y="24"/>
                  </a:lnTo>
                  <a:lnTo>
                    <a:pt x="760" y="13"/>
                  </a:lnTo>
                  <a:lnTo>
                    <a:pt x="786" y="5"/>
                  </a:lnTo>
                  <a:lnTo>
                    <a:pt x="814" y="1"/>
                  </a:lnTo>
                  <a:lnTo>
                    <a:pt x="841" y="0"/>
                  </a:lnTo>
                  <a:close/>
                  <a:moveTo>
                    <a:pt x="1417" y="3144"/>
                  </a:moveTo>
                  <a:lnTo>
                    <a:pt x="1538" y="3046"/>
                  </a:lnTo>
                  <a:lnTo>
                    <a:pt x="1600" y="2791"/>
                  </a:lnTo>
                  <a:lnTo>
                    <a:pt x="1655" y="2791"/>
                  </a:lnTo>
                  <a:lnTo>
                    <a:pt x="1585" y="3077"/>
                  </a:lnTo>
                  <a:lnTo>
                    <a:pt x="1413" y="3215"/>
                  </a:lnTo>
                  <a:lnTo>
                    <a:pt x="1343" y="4763"/>
                  </a:lnTo>
                  <a:lnTo>
                    <a:pt x="897" y="4763"/>
                  </a:lnTo>
                  <a:lnTo>
                    <a:pt x="897" y="2726"/>
                  </a:lnTo>
                  <a:lnTo>
                    <a:pt x="844" y="2726"/>
                  </a:lnTo>
                  <a:lnTo>
                    <a:pt x="844" y="4763"/>
                  </a:lnTo>
                  <a:lnTo>
                    <a:pt x="398" y="4763"/>
                  </a:lnTo>
                  <a:lnTo>
                    <a:pt x="326" y="3217"/>
                  </a:lnTo>
                  <a:lnTo>
                    <a:pt x="153" y="3077"/>
                  </a:lnTo>
                  <a:lnTo>
                    <a:pt x="82" y="2791"/>
                  </a:lnTo>
                  <a:lnTo>
                    <a:pt x="137" y="2791"/>
                  </a:lnTo>
                  <a:lnTo>
                    <a:pt x="199" y="3046"/>
                  </a:lnTo>
                  <a:lnTo>
                    <a:pt x="322" y="3147"/>
                  </a:lnTo>
                  <a:lnTo>
                    <a:pt x="304" y="2738"/>
                  </a:lnTo>
                  <a:lnTo>
                    <a:pt x="300" y="2738"/>
                  </a:lnTo>
                  <a:lnTo>
                    <a:pt x="0" y="2738"/>
                  </a:lnTo>
                  <a:lnTo>
                    <a:pt x="0" y="1086"/>
                  </a:lnTo>
                  <a:lnTo>
                    <a:pt x="1" y="1065"/>
                  </a:lnTo>
                  <a:lnTo>
                    <a:pt x="4" y="1045"/>
                  </a:lnTo>
                  <a:lnTo>
                    <a:pt x="9" y="1028"/>
                  </a:lnTo>
                  <a:lnTo>
                    <a:pt x="16" y="1012"/>
                  </a:lnTo>
                  <a:lnTo>
                    <a:pt x="25" y="997"/>
                  </a:lnTo>
                  <a:lnTo>
                    <a:pt x="35" y="983"/>
                  </a:lnTo>
                  <a:lnTo>
                    <a:pt x="46" y="971"/>
                  </a:lnTo>
                  <a:lnTo>
                    <a:pt x="60" y="959"/>
                  </a:lnTo>
                  <a:lnTo>
                    <a:pt x="74" y="948"/>
                  </a:lnTo>
                  <a:lnTo>
                    <a:pt x="89" y="939"/>
                  </a:lnTo>
                  <a:lnTo>
                    <a:pt x="106" y="929"/>
                  </a:lnTo>
                  <a:lnTo>
                    <a:pt x="123" y="920"/>
                  </a:lnTo>
                  <a:lnTo>
                    <a:pt x="162" y="904"/>
                  </a:lnTo>
                  <a:lnTo>
                    <a:pt x="202" y="890"/>
                  </a:lnTo>
                  <a:lnTo>
                    <a:pt x="606" y="742"/>
                  </a:lnTo>
                  <a:lnTo>
                    <a:pt x="738" y="1522"/>
                  </a:lnTo>
                  <a:lnTo>
                    <a:pt x="806" y="916"/>
                  </a:lnTo>
                  <a:lnTo>
                    <a:pt x="790" y="908"/>
                  </a:lnTo>
                  <a:lnTo>
                    <a:pt x="774" y="898"/>
                  </a:lnTo>
                  <a:lnTo>
                    <a:pt x="760" y="886"/>
                  </a:lnTo>
                  <a:lnTo>
                    <a:pt x="750" y="871"/>
                  </a:lnTo>
                  <a:lnTo>
                    <a:pt x="851" y="775"/>
                  </a:lnTo>
                  <a:lnTo>
                    <a:pt x="952" y="871"/>
                  </a:lnTo>
                  <a:lnTo>
                    <a:pt x="940" y="886"/>
                  </a:lnTo>
                  <a:lnTo>
                    <a:pt x="926" y="898"/>
                  </a:lnTo>
                  <a:lnTo>
                    <a:pt x="912" y="908"/>
                  </a:lnTo>
                  <a:lnTo>
                    <a:pt x="894" y="916"/>
                  </a:lnTo>
                  <a:lnTo>
                    <a:pt x="962" y="1522"/>
                  </a:lnTo>
                  <a:lnTo>
                    <a:pt x="1095" y="742"/>
                  </a:lnTo>
                  <a:lnTo>
                    <a:pt x="1500" y="890"/>
                  </a:lnTo>
                  <a:lnTo>
                    <a:pt x="1539" y="904"/>
                  </a:lnTo>
                  <a:lnTo>
                    <a:pt x="1577" y="920"/>
                  </a:lnTo>
                  <a:lnTo>
                    <a:pt x="1594" y="929"/>
                  </a:lnTo>
                  <a:lnTo>
                    <a:pt x="1611" y="939"/>
                  </a:lnTo>
                  <a:lnTo>
                    <a:pt x="1627" y="948"/>
                  </a:lnTo>
                  <a:lnTo>
                    <a:pt x="1642" y="959"/>
                  </a:lnTo>
                  <a:lnTo>
                    <a:pt x="1654" y="971"/>
                  </a:lnTo>
                  <a:lnTo>
                    <a:pt x="1665" y="983"/>
                  </a:lnTo>
                  <a:lnTo>
                    <a:pt x="1676" y="997"/>
                  </a:lnTo>
                  <a:lnTo>
                    <a:pt x="1684" y="1012"/>
                  </a:lnTo>
                  <a:lnTo>
                    <a:pt x="1691" y="1028"/>
                  </a:lnTo>
                  <a:lnTo>
                    <a:pt x="1696" y="1045"/>
                  </a:lnTo>
                  <a:lnTo>
                    <a:pt x="1699" y="1065"/>
                  </a:lnTo>
                  <a:lnTo>
                    <a:pt x="1700" y="1086"/>
                  </a:lnTo>
                  <a:lnTo>
                    <a:pt x="1700" y="2738"/>
                  </a:lnTo>
                  <a:lnTo>
                    <a:pt x="1436" y="2738"/>
                  </a:lnTo>
                  <a:lnTo>
                    <a:pt x="1417" y="3144"/>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646464"/>
                </a:solidFill>
              </a:endParaRPr>
            </a:p>
          </p:txBody>
        </p:sp>
        <p:sp>
          <p:nvSpPr>
            <p:cNvPr id="32" name="Freeform 63"/>
            <p:cNvSpPr>
              <a:spLocks noChangeAspect="1" noEditPoints="1"/>
            </p:cNvSpPr>
            <p:nvPr/>
          </p:nvSpPr>
          <p:spPr bwMode="auto">
            <a:xfrm>
              <a:off x="6282804" y="4932759"/>
              <a:ext cx="113415" cy="359148"/>
            </a:xfrm>
            <a:custGeom>
              <a:avLst/>
              <a:gdLst>
                <a:gd name="T0" fmla="*/ 2147483647 w 1510"/>
                <a:gd name="T1" fmla="*/ 2147483647 h 4763"/>
                <a:gd name="T2" fmla="*/ 2147483647 w 1510"/>
                <a:gd name="T3" fmla="*/ 2147483647 h 4763"/>
                <a:gd name="T4" fmla="*/ 2147483647 w 1510"/>
                <a:gd name="T5" fmla="*/ 2147483647 h 4763"/>
                <a:gd name="T6" fmla="*/ 2147483647 w 1510"/>
                <a:gd name="T7" fmla="*/ 2147483647 h 4763"/>
                <a:gd name="T8" fmla="*/ 2147483647 w 1510"/>
                <a:gd name="T9" fmla="*/ 2147483647 h 4763"/>
                <a:gd name="T10" fmla="*/ 2147483647 w 1510"/>
                <a:gd name="T11" fmla="*/ 2147483647 h 4763"/>
                <a:gd name="T12" fmla="*/ 2147483647 w 1510"/>
                <a:gd name="T13" fmla="*/ 2147483647 h 4763"/>
                <a:gd name="T14" fmla="*/ 2147483647 w 1510"/>
                <a:gd name="T15" fmla="*/ 2147483647 h 4763"/>
                <a:gd name="T16" fmla="*/ 2147483647 w 1510"/>
                <a:gd name="T17" fmla="*/ 2147483647 h 4763"/>
                <a:gd name="T18" fmla="*/ 2147483647 w 1510"/>
                <a:gd name="T19" fmla="*/ 2147483647 h 4763"/>
                <a:gd name="T20" fmla="*/ 2147483647 w 1510"/>
                <a:gd name="T21" fmla="*/ 2147483647 h 4763"/>
                <a:gd name="T22" fmla="*/ 2147483647 w 1510"/>
                <a:gd name="T23" fmla="*/ 2147483647 h 4763"/>
                <a:gd name="T24" fmla="*/ 2147483647 w 1510"/>
                <a:gd name="T25" fmla="*/ 2147483647 h 4763"/>
                <a:gd name="T26" fmla="*/ 2147483647 w 1510"/>
                <a:gd name="T27" fmla="*/ 2147483647 h 4763"/>
                <a:gd name="T28" fmla="*/ 2147483647 w 1510"/>
                <a:gd name="T29" fmla="*/ 2147483647 h 4763"/>
                <a:gd name="T30" fmla="*/ 2147483647 w 1510"/>
                <a:gd name="T31" fmla="*/ 2147483647 h 4763"/>
                <a:gd name="T32" fmla="*/ 2147483647 w 1510"/>
                <a:gd name="T33" fmla="*/ 2147483647 h 4763"/>
                <a:gd name="T34" fmla="*/ 2147483647 w 1510"/>
                <a:gd name="T35" fmla="*/ 2147483647 h 4763"/>
                <a:gd name="T36" fmla="*/ 2147483647 w 1510"/>
                <a:gd name="T37" fmla="*/ 2147483647 h 4763"/>
                <a:gd name="T38" fmla="*/ 2147483647 w 1510"/>
                <a:gd name="T39" fmla="*/ 2147483647 h 4763"/>
                <a:gd name="T40" fmla="*/ 2147483647 w 1510"/>
                <a:gd name="T41" fmla="*/ 2147483647 h 4763"/>
                <a:gd name="T42" fmla="*/ 2147483647 w 1510"/>
                <a:gd name="T43" fmla="*/ 2147483647 h 4763"/>
                <a:gd name="T44" fmla="*/ 2147483647 w 1510"/>
                <a:gd name="T45" fmla="*/ 2147483647 h 4763"/>
                <a:gd name="T46" fmla="*/ 2147483647 w 1510"/>
                <a:gd name="T47" fmla="*/ 2147483647 h 4763"/>
                <a:gd name="T48" fmla="*/ 2147483647 w 1510"/>
                <a:gd name="T49" fmla="*/ 2147483647 h 4763"/>
                <a:gd name="T50" fmla="*/ 2147483647 w 1510"/>
                <a:gd name="T51" fmla="*/ 2147483647 h 4763"/>
                <a:gd name="T52" fmla="*/ 2147483647 w 1510"/>
                <a:gd name="T53" fmla="*/ 2147483647 h 4763"/>
                <a:gd name="T54" fmla="*/ 2147483647 w 1510"/>
                <a:gd name="T55" fmla="*/ 2147483647 h 4763"/>
                <a:gd name="T56" fmla="*/ 2147483647 w 1510"/>
                <a:gd name="T57" fmla="*/ 2147483647 h 4763"/>
                <a:gd name="T58" fmla="*/ 2147483647 w 1510"/>
                <a:gd name="T59" fmla="*/ 2147483647 h 4763"/>
                <a:gd name="T60" fmla="*/ 2147483647 w 1510"/>
                <a:gd name="T61" fmla="*/ 2147483647 h 4763"/>
                <a:gd name="T62" fmla="*/ 2147483647 w 1510"/>
                <a:gd name="T63" fmla="*/ 2147483647 h 4763"/>
                <a:gd name="T64" fmla="*/ 2147483647 w 1510"/>
                <a:gd name="T65" fmla="*/ 2147483647 h 4763"/>
                <a:gd name="T66" fmla="*/ 2147483647 w 1510"/>
                <a:gd name="T67" fmla="*/ 2147483647 h 4763"/>
                <a:gd name="T68" fmla="*/ 2147483647 w 1510"/>
                <a:gd name="T69" fmla="*/ 2147483647 h 4763"/>
                <a:gd name="T70" fmla="*/ 2147483647 w 1510"/>
                <a:gd name="T71" fmla="*/ 2147483647 h 4763"/>
                <a:gd name="T72" fmla="*/ 2147483647 w 1510"/>
                <a:gd name="T73" fmla="*/ 2147483647 h 4763"/>
                <a:gd name="T74" fmla="*/ 2147483647 w 1510"/>
                <a:gd name="T75" fmla="*/ 2147483647 h 4763"/>
                <a:gd name="T76" fmla="*/ 2147483647 w 1510"/>
                <a:gd name="T77" fmla="*/ 2147483647 h 4763"/>
                <a:gd name="T78" fmla="*/ 2147483647 w 1510"/>
                <a:gd name="T79" fmla="*/ 2147483647 h 4763"/>
                <a:gd name="T80" fmla="*/ 2147483647 w 1510"/>
                <a:gd name="T81" fmla="*/ 2147483647 h 4763"/>
                <a:gd name="T82" fmla="*/ 2147483647 w 1510"/>
                <a:gd name="T83" fmla="*/ 2147483647 h 4763"/>
                <a:gd name="T84" fmla="*/ 2147483647 w 1510"/>
                <a:gd name="T85" fmla="*/ 2147483647 h 4763"/>
                <a:gd name="T86" fmla="*/ 2147483647 w 1510"/>
                <a:gd name="T87" fmla="*/ 2147483647 h 4763"/>
                <a:gd name="T88" fmla="*/ 2147483647 w 1510"/>
                <a:gd name="T89" fmla="*/ 2147483647 h 4763"/>
                <a:gd name="T90" fmla="*/ 2147483647 w 1510"/>
                <a:gd name="T91" fmla="*/ 2147483647 h 4763"/>
                <a:gd name="T92" fmla="*/ 2147483647 w 1510"/>
                <a:gd name="T93" fmla="*/ 2147483647 h 4763"/>
                <a:gd name="T94" fmla="*/ 2147483647 w 1510"/>
                <a:gd name="T95" fmla="*/ 2147483647 h 4763"/>
                <a:gd name="T96" fmla="*/ 2147483647 w 1510"/>
                <a:gd name="T97" fmla="*/ 2147483647 h 4763"/>
                <a:gd name="T98" fmla="*/ 2147483647 w 1510"/>
                <a:gd name="T99" fmla="*/ 2147483647 h 4763"/>
                <a:gd name="T100" fmla="*/ 2147483647 w 1510"/>
                <a:gd name="T101" fmla="*/ 2147483647 h 4763"/>
                <a:gd name="T102" fmla="*/ 2147483647 w 1510"/>
                <a:gd name="T103" fmla="*/ 2147483647 h 4763"/>
                <a:gd name="T104" fmla="*/ 2147483647 w 1510"/>
                <a:gd name="T105" fmla="*/ 2147483647 h 4763"/>
                <a:gd name="T106" fmla="*/ 2147483647 w 1510"/>
                <a:gd name="T107" fmla="*/ 2147483647 h 4763"/>
                <a:gd name="T108" fmla="*/ 2147483647 w 1510"/>
                <a:gd name="T109" fmla="*/ 2147483647 h 4763"/>
                <a:gd name="T110" fmla="*/ 2147483647 w 1510"/>
                <a:gd name="T111" fmla="*/ 2147483647 h 4763"/>
                <a:gd name="T112" fmla="*/ 2147483647 w 1510"/>
                <a:gd name="T113" fmla="*/ 2147483647 h 4763"/>
                <a:gd name="T114" fmla="*/ 2147483647 w 1510"/>
                <a:gd name="T115" fmla="*/ 2147483647 h 4763"/>
                <a:gd name="T116" fmla="*/ 2147483647 w 1510"/>
                <a:gd name="T117" fmla="*/ 2147483647 h 4763"/>
                <a:gd name="T118" fmla="*/ 2147483647 w 1510"/>
                <a:gd name="T119" fmla="*/ 2147483647 h 4763"/>
                <a:gd name="T120" fmla="*/ 2147483647 w 1510"/>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10"/>
                <a:gd name="T184" fmla="*/ 0 h 4763"/>
                <a:gd name="T185" fmla="*/ 1510 w 1510"/>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10" h="4763">
                  <a:moveTo>
                    <a:pt x="544" y="802"/>
                  </a:moveTo>
                  <a:lnTo>
                    <a:pt x="749" y="1234"/>
                  </a:lnTo>
                  <a:lnTo>
                    <a:pt x="951" y="806"/>
                  </a:lnTo>
                  <a:lnTo>
                    <a:pt x="1157" y="841"/>
                  </a:lnTo>
                  <a:lnTo>
                    <a:pt x="1184" y="846"/>
                  </a:lnTo>
                  <a:lnTo>
                    <a:pt x="1212" y="852"/>
                  </a:lnTo>
                  <a:lnTo>
                    <a:pt x="1238" y="860"/>
                  </a:lnTo>
                  <a:lnTo>
                    <a:pt x="1264" y="870"/>
                  </a:lnTo>
                  <a:lnTo>
                    <a:pt x="1287" y="879"/>
                  </a:lnTo>
                  <a:lnTo>
                    <a:pt x="1311" y="892"/>
                  </a:lnTo>
                  <a:lnTo>
                    <a:pt x="1333" y="907"/>
                  </a:lnTo>
                  <a:lnTo>
                    <a:pt x="1353" y="922"/>
                  </a:lnTo>
                  <a:lnTo>
                    <a:pt x="1371" y="941"/>
                  </a:lnTo>
                  <a:lnTo>
                    <a:pt x="1388" y="960"/>
                  </a:lnTo>
                  <a:lnTo>
                    <a:pt x="1403" y="984"/>
                  </a:lnTo>
                  <a:lnTo>
                    <a:pt x="1414" y="1007"/>
                  </a:lnTo>
                  <a:lnTo>
                    <a:pt x="1423" y="1034"/>
                  </a:lnTo>
                  <a:lnTo>
                    <a:pt x="1432" y="1065"/>
                  </a:lnTo>
                  <a:lnTo>
                    <a:pt x="1436" y="1096"/>
                  </a:lnTo>
                  <a:lnTo>
                    <a:pt x="1437" y="1131"/>
                  </a:lnTo>
                  <a:lnTo>
                    <a:pt x="1437" y="2330"/>
                  </a:lnTo>
                  <a:lnTo>
                    <a:pt x="1301" y="2735"/>
                  </a:lnTo>
                  <a:lnTo>
                    <a:pt x="1510" y="3779"/>
                  </a:lnTo>
                  <a:lnTo>
                    <a:pt x="1157" y="3779"/>
                  </a:lnTo>
                  <a:lnTo>
                    <a:pt x="1021" y="4763"/>
                  </a:lnTo>
                  <a:lnTo>
                    <a:pt x="910" y="4763"/>
                  </a:lnTo>
                  <a:lnTo>
                    <a:pt x="1046" y="3779"/>
                  </a:lnTo>
                  <a:lnTo>
                    <a:pt x="787" y="3779"/>
                  </a:lnTo>
                  <a:lnTo>
                    <a:pt x="782" y="4763"/>
                  </a:lnTo>
                  <a:lnTo>
                    <a:pt x="727" y="4763"/>
                  </a:lnTo>
                  <a:lnTo>
                    <a:pt x="732" y="3779"/>
                  </a:lnTo>
                  <a:lnTo>
                    <a:pt x="464" y="3779"/>
                  </a:lnTo>
                  <a:lnTo>
                    <a:pt x="599" y="4763"/>
                  </a:lnTo>
                  <a:lnTo>
                    <a:pt x="488" y="4763"/>
                  </a:lnTo>
                  <a:lnTo>
                    <a:pt x="353" y="3779"/>
                  </a:lnTo>
                  <a:lnTo>
                    <a:pt x="0" y="3779"/>
                  </a:lnTo>
                  <a:lnTo>
                    <a:pt x="213" y="2737"/>
                  </a:lnTo>
                  <a:lnTo>
                    <a:pt x="73" y="2331"/>
                  </a:lnTo>
                  <a:lnTo>
                    <a:pt x="73" y="1131"/>
                  </a:lnTo>
                  <a:lnTo>
                    <a:pt x="74" y="1098"/>
                  </a:lnTo>
                  <a:lnTo>
                    <a:pt x="78" y="1066"/>
                  </a:lnTo>
                  <a:lnTo>
                    <a:pt x="84" y="1037"/>
                  </a:lnTo>
                  <a:lnTo>
                    <a:pt x="93" y="1011"/>
                  </a:lnTo>
                  <a:lnTo>
                    <a:pt x="104" y="988"/>
                  </a:lnTo>
                  <a:lnTo>
                    <a:pt x="118" y="966"/>
                  </a:lnTo>
                  <a:lnTo>
                    <a:pt x="133" y="947"/>
                  </a:lnTo>
                  <a:lnTo>
                    <a:pt x="151" y="929"/>
                  </a:lnTo>
                  <a:lnTo>
                    <a:pt x="170" y="912"/>
                  </a:lnTo>
                  <a:lnTo>
                    <a:pt x="191" y="898"/>
                  </a:lnTo>
                  <a:lnTo>
                    <a:pt x="213" y="886"/>
                  </a:lnTo>
                  <a:lnTo>
                    <a:pt x="236" y="875"/>
                  </a:lnTo>
                  <a:lnTo>
                    <a:pt x="260" y="866"/>
                  </a:lnTo>
                  <a:lnTo>
                    <a:pt x="284" y="857"/>
                  </a:lnTo>
                  <a:lnTo>
                    <a:pt x="311" y="850"/>
                  </a:lnTo>
                  <a:lnTo>
                    <a:pt x="337" y="845"/>
                  </a:lnTo>
                  <a:lnTo>
                    <a:pt x="544" y="802"/>
                  </a:lnTo>
                  <a:close/>
                  <a:moveTo>
                    <a:pt x="956" y="919"/>
                  </a:moveTo>
                  <a:lnTo>
                    <a:pt x="747" y="1360"/>
                  </a:lnTo>
                  <a:lnTo>
                    <a:pt x="536" y="915"/>
                  </a:lnTo>
                  <a:lnTo>
                    <a:pt x="365" y="945"/>
                  </a:lnTo>
                  <a:lnTo>
                    <a:pt x="348" y="949"/>
                  </a:lnTo>
                  <a:lnTo>
                    <a:pt x="330" y="953"/>
                  </a:lnTo>
                  <a:lnTo>
                    <a:pt x="312" y="959"/>
                  </a:lnTo>
                  <a:lnTo>
                    <a:pt x="295" y="966"/>
                  </a:lnTo>
                  <a:lnTo>
                    <a:pt x="279" y="973"/>
                  </a:lnTo>
                  <a:lnTo>
                    <a:pt x="264" y="981"/>
                  </a:lnTo>
                  <a:lnTo>
                    <a:pt x="250" y="991"/>
                  </a:lnTo>
                  <a:lnTo>
                    <a:pt x="236" y="1002"/>
                  </a:lnTo>
                  <a:lnTo>
                    <a:pt x="225" y="1012"/>
                  </a:lnTo>
                  <a:lnTo>
                    <a:pt x="214" y="1026"/>
                  </a:lnTo>
                  <a:lnTo>
                    <a:pt x="205" y="1040"/>
                  </a:lnTo>
                  <a:lnTo>
                    <a:pt x="196" y="1056"/>
                  </a:lnTo>
                  <a:lnTo>
                    <a:pt x="191" y="1073"/>
                  </a:lnTo>
                  <a:lnTo>
                    <a:pt x="185" y="1091"/>
                  </a:lnTo>
                  <a:lnTo>
                    <a:pt x="183" y="1110"/>
                  </a:lnTo>
                  <a:lnTo>
                    <a:pt x="183" y="1131"/>
                  </a:lnTo>
                  <a:lnTo>
                    <a:pt x="183" y="2253"/>
                  </a:lnTo>
                  <a:lnTo>
                    <a:pt x="361" y="2253"/>
                  </a:lnTo>
                  <a:lnTo>
                    <a:pt x="404" y="2069"/>
                  </a:lnTo>
                  <a:lnTo>
                    <a:pt x="404" y="1504"/>
                  </a:lnTo>
                  <a:lnTo>
                    <a:pt x="334" y="1184"/>
                  </a:lnTo>
                  <a:lnTo>
                    <a:pt x="387" y="1172"/>
                  </a:lnTo>
                  <a:lnTo>
                    <a:pt x="459" y="1499"/>
                  </a:lnTo>
                  <a:lnTo>
                    <a:pt x="459" y="2072"/>
                  </a:lnTo>
                  <a:lnTo>
                    <a:pt x="1050" y="2072"/>
                  </a:lnTo>
                  <a:lnTo>
                    <a:pt x="1050" y="1499"/>
                  </a:lnTo>
                  <a:lnTo>
                    <a:pt x="1123" y="1172"/>
                  </a:lnTo>
                  <a:lnTo>
                    <a:pt x="1176" y="1184"/>
                  </a:lnTo>
                  <a:lnTo>
                    <a:pt x="1105" y="1504"/>
                  </a:lnTo>
                  <a:lnTo>
                    <a:pt x="1105" y="2069"/>
                  </a:lnTo>
                  <a:lnTo>
                    <a:pt x="1147" y="2253"/>
                  </a:lnTo>
                  <a:lnTo>
                    <a:pt x="1327" y="2253"/>
                  </a:lnTo>
                  <a:lnTo>
                    <a:pt x="1327" y="1131"/>
                  </a:lnTo>
                  <a:lnTo>
                    <a:pt x="1326" y="1110"/>
                  </a:lnTo>
                  <a:lnTo>
                    <a:pt x="1323" y="1092"/>
                  </a:lnTo>
                  <a:lnTo>
                    <a:pt x="1319" y="1073"/>
                  </a:lnTo>
                  <a:lnTo>
                    <a:pt x="1314" y="1056"/>
                  </a:lnTo>
                  <a:lnTo>
                    <a:pt x="1305" y="1041"/>
                  </a:lnTo>
                  <a:lnTo>
                    <a:pt x="1297" y="1028"/>
                  </a:lnTo>
                  <a:lnTo>
                    <a:pt x="1286" y="1014"/>
                  </a:lnTo>
                  <a:lnTo>
                    <a:pt x="1275" y="1002"/>
                  </a:lnTo>
                  <a:lnTo>
                    <a:pt x="1263" y="992"/>
                  </a:lnTo>
                  <a:lnTo>
                    <a:pt x="1249" y="982"/>
                  </a:lnTo>
                  <a:lnTo>
                    <a:pt x="1234" y="973"/>
                  </a:lnTo>
                  <a:lnTo>
                    <a:pt x="1219" y="966"/>
                  </a:lnTo>
                  <a:lnTo>
                    <a:pt x="1202" y="959"/>
                  </a:lnTo>
                  <a:lnTo>
                    <a:pt x="1186" y="955"/>
                  </a:lnTo>
                  <a:lnTo>
                    <a:pt x="1169" y="951"/>
                  </a:lnTo>
                  <a:lnTo>
                    <a:pt x="1151" y="947"/>
                  </a:lnTo>
                  <a:lnTo>
                    <a:pt x="956" y="919"/>
                  </a:lnTo>
                  <a:close/>
                  <a:moveTo>
                    <a:pt x="349" y="2308"/>
                  </a:moveTo>
                  <a:lnTo>
                    <a:pt x="183" y="2308"/>
                  </a:lnTo>
                  <a:lnTo>
                    <a:pt x="183" y="2311"/>
                  </a:lnTo>
                  <a:lnTo>
                    <a:pt x="282" y="2595"/>
                  </a:lnTo>
                  <a:lnTo>
                    <a:pt x="349" y="2308"/>
                  </a:lnTo>
                  <a:close/>
                  <a:moveTo>
                    <a:pt x="1327" y="2308"/>
                  </a:moveTo>
                  <a:lnTo>
                    <a:pt x="1160" y="2308"/>
                  </a:lnTo>
                  <a:lnTo>
                    <a:pt x="1227" y="2607"/>
                  </a:lnTo>
                  <a:lnTo>
                    <a:pt x="1327" y="2311"/>
                  </a:lnTo>
                  <a:lnTo>
                    <a:pt x="1327" y="2308"/>
                  </a:lnTo>
                  <a:close/>
                  <a:moveTo>
                    <a:pt x="1085" y="372"/>
                  </a:moveTo>
                  <a:lnTo>
                    <a:pt x="1085" y="445"/>
                  </a:lnTo>
                  <a:lnTo>
                    <a:pt x="1084" y="473"/>
                  </a:lnTo>
                  <a:lnTo>
                    <a:pt x="1081" y="496"/>
                  </a:lnTo>
                  <a:lnTo>
                    <a:pt x="1079" y="506"/>
                  </a:lnTo>
                  <a:lnTo>
                    <a:pt x="1076" y="515"/>
                  </a:lnTo>
                  <a:lnTo>
                    <a:pt x="1072" y="522"/>
                  </a:lnTo>
                  <a:lnTo>
                    <a:pt x="1068" y="529"/>
                  </a:lnTo>
                  <a:lnTo>
                    <a:pt x="1063" y="534"/>
                  </a:lnTo>
                  <a:lnTo>
                    <a:pt x="1058" y="540"/>
                  </a:lnTo>
                  <a:lnTo>
                    <a:pt x="1052" y="544"/>
                  </a:lnTo>
                  <a:lnTo>
                    <a:pt x="1047" y="547"/>
                  </a:lnTo>
                  <a:lnTo>
                    <a:pt x="1033" y="551"/>
                  </a:lnTo>
                  <a:lnTo>
                    <a:pt x="1018" y="552"/>
                  </a:lnTo>
                  <a:lnTo>
                    <a:pt x="1010" y="577"/>
                  </a:lnTo>
                  <a:lnTo>
                    <a:pt x="1025" y="587"/>
                  </a:lnTo>
                  <a:lnTo>
                    <a:pt x="1041" y="596"/>
                  </a:lnTo>
                  <a:lnTo>
                    <a:pt x="1058" y="603"/>
                  </a:lnTo>
                  <a:lnTo>
                    <a:pt x="1074" y="609"/>
                  </a:lnTo>
                  <a:lnTo>
                    <a:pt x="1092" y="614"/>
                  </a:lnTo>
                  <a:lnTo>
                    <a:pt x="1112" y="617"/>
                  </a:lnTo>
                  <a:lnTo>
                    <a:pt x="1129" y="618"/>
                  </a:lnTo>
                  <a:lnTo>
                    <a:pt x="1149" y="617"/>
                  </a:lnTo>
                  <a:lnTo>
                    <a:pt x="1151" y="617"/>
                  </a:lnTo>
                  <a:lnTo>
                    <a:pt x="1149" y="631"/>
                  </a:lnTo>
                  <a:lnTo>
                    <a:pt x="1146" y="643"/>
                  </a:lnTo>
                  <a:lnTo>
                    <a:pt x="1140" y="654"/>
                  </a:lnTo>
                  <a:lnTo>
                    <a:pt x="1135" y="666"/>
                  </a:lnTo>
                  <a:lnTo>
                    <a:pt x="1128" y="677"/>
                  </a:lnTo>
                  <a:lnTo>
                    <a:pt x="1120" y="687"/>
                  </a:lnTo>
                  <a:lnTo>
                    <a:pt x="1112" y="697"/>
                  </a:lnTo>
                  <a:lnTo>
                    <a:pt x="1102" y="706"/>
                  </a:lnTo>
                  <a:lnTo>
                    <a:pt x="1091" y="714"/>
                  </a:lnTo>
                  <a:lnTo>
                    <a:pt x="1080" y="721"/>
                  </a:lnTo>
                  <a:lnTo>
                    <a:pt x="1068" y="728"/>
                  </a:lnTo>
                  <a:lnTo>
                    <a:pt x="1055" y="734"/>
                  </a:lnTo>
                  <a:lnTo>
                    <a:pt x="1041" y="739"/>
                  </a:lnTo>
                  <a:lnTo>
                    <a:pt x="1028" y="743"/>
                  </a:lnTo>
                  <a:lnTo>
                    <a:pt x="1014" y="746"/>
                  </a:lnTo>
                  <a:lnTo>
                    <a:pt x="999" y="747"/>
                  </a:lnTo>
                  <a:lnTo>
                    <a:pt x="984" y="747"/>
                  </a:lnTo>
                  <a:lnTo>
                    <a:pt x="970" y="747"/>
                  </a:lnTo>
                  <a:lnTo>
                    <a:pt x="958" y="746"/>
                  </a:lnTo>
                  <a:lnTo>
                    <a:pt x="944" y="743"/>
                  </a:lnTo>
                  <a:lnTo>
                    <a:pt x="930" y="740"/>
                  </a:lnTo>
                  <a:lnTo>
                    <a:pt x="918" y="736"/>
                  </a:lnTo>
                  <a:lnTo>
                    <a:pt x="905" y="732"/>
                  </a:lnTo>
                  <a:lnTo>
                    <a:pt x="893" y="727"/>
                  </a:lnTo>
                  <a:lnTo>
                    <a:pt x="878" y="736"/>
                  </a:lnTo>
                  <a:lnTo>
                    <a:pt x="861" y="743"/>
                  </a:lnTo>
                  <a:lnTo>
                    <a:pt x="846" y="750"/>
                  </a:lnTo>
                  <a:lnTo>
                    <a:pt x="829" y="757"/>
                  </a:lnTo>
                  <a:lnTo>
                    <a:pt x="812" y="761"/>
                  </a:lnTo>
                  <a:lnTo>
                    <a:pt x="794" y="764"/>
                  </a:lnTo>
                  <a:lnTo>
                    <a:pt x="776" y="767"/>
                  </a:lnTo>
                  <a:lnTo>
                    <a:pt x="757" y="767"/>
                  </a:lnTo>
                  <a:lnTo>
                    <a:pt x="738" y="767"/>
                  </a:lnTo>
                  <a:lnTo>
                    <a:pt x="719" y="764"/>
                  </a:lnTo>
                  <a:lnTo>
                    <a:pt x="699" y="760"/>
                  </a:lnTo>
                  <a:lnTo>
                    <a:pt x="681" y="756"/>
                  </a:lnTo>
                  <a:lnTo>
                    <a:pt x="664" y="749"/>
                  </a:lnTo>
                  <a:lnTo>
                    <a:pt x="646" y="740"/>
                  </a:lnTo>
                  <a:lnTo>
                    <a:pt x="629" y="732"/>
                  </a:lnTo>
                  <a:lnTo>
                    <a:pt x="614" y="721"/>
                  </a:lnTo>
                  <a:lnTo>
                    <a:pt x="600" y="728"/>
                  </a:lnTo>
                  <a:lnTo>
                    <a:pt x="587" y="734"/>
                  </a:lnTo>
                  <a:lnTo>
                    <a:pt x="573" y="739"/>
                  </a:lnTo>
                  <a:lnTo>
                    <a:pt x="559" y="742"/>
                  </a:lnTo>
                  <a:lnTo>
                    <a:pt x="544" y="745"/>
                  </a:lnTo>
                  <a:lnTo>
                    <a:pt x="529" y="747"/>
                  </a:lnTo>
                  <a:lnTo>
                    <a:pt x="514" y="747"/>
                  </a:lnTo>
                  <a:lnTo>
                    <a:pt x="499" y="747"/>
                  </a:lnTo>
                  <a:lnTo>
                    <a:pt x="484" y="746"/>
                  </a:lnTo>
                  <a:lnTo>
                    <a:pt x="469" y="743"/>
                  </a:lnTo>
                  <a:lnTo>
                    <a:pt x="455" y="739"/>
                  </a:lnTo>
                  <a:lnTo>
                    <a:pt x="441" y="734"/>
                  </a:lnTo>
                  <a:lnTo>
                    <a:pt x="429" y="728"/>
                  </a:lnTo>
                  <a:lnTo>
                    <a:pt x="416" y="721"/>
                  </a:lnTo>
                  <a:lnTo>
                    <a:pt x="405" y="714"/>
                  </a:lnTo>
                  <a:lnTo>
                    <a:pt x="394" y="706"/>
                  </a:lnTo>
                  <a:lnTo>
                    <a:pt x="385" y="697"/>
                  </a:lnTo>
                  <a:lnTo>
                    <a:pt x="376" y="687"/>
                  </a:lnTo>
                  <a:lnTo>
                    <a:pt x="368" y="677"/>
                  </a:lnTo>
                  <a:lnTo>
                    <a:pt x="361" y="666"/>
                  </a:lnTo>
                  <a:lnTo>
                    <a:pt x="356" y="654"/>
                  </a:lnTo>
                  <a:lnTo>
                    <a:pt x="352" y="643"/>
                  </a:lnTo>
                  <a:lnTo>
                    <a:pt x="348" y="631"/>
                  </a:lnTo>
                  <a:lnTo>
                    <a:pt x="345" y="617"/>
                  </a:lnTo>
                  <a:lnTo>
                    <a:pt x="348" y="617"/>
                  </a:lnTo>
                  <a:lnTo>
                    <a:pt x="370" y="618"/>
                  </a:lnTo>
                  <a:lnTo>
                    <a:pt x="390" y="615"/>
                  </a:lnTo>
                  <a:lnTo>
                    <a:pt x="411" y="613"/>
                  </a:lnTo>
                  <a:lnTo>
                    <a:pt x="430" y="606"/>
                  </a:lnTo>
                  <a:lnTo>
                    <a:pt x="449" y="599"/>
                  </a:lnTo>
                  <a:lnTo>
                    <a:pt x="469" y="589"/>
                  </a:lnTo>
                  <a:lnTo>
                    <a:pt x="485" y="578"/>
                  </a:lnTo>
                  <a:lnTo>
                    <a:pt x="500" y="566"/>
                  </a:lnTo>
                  <a:lnTo>
                    <a:pt x="496" y="552"/>
                  </a:lnTo>
                  <a:lnTo>
                    <a:pt x="478" y="552"/>
                  </a:lnTo>
                  <a:lnTo>
                    <a:pt x="469" y="552"/>
                  </a:lnTo>
                  <a:lnTo>
                    <a:pt x="462" y="551"/>
                  </a:lnTo>
                  <a:lnTo>
                    <a:pt x="453" y="548"/>
                  </a:lnTo>
                  <a:lnTo>
                    <a:pt x="447" y="544"/>
                  </a:lnTo>
                  <a:lnTo>
                    <a:pt x="440" y="540"/>
                  </a:lnTo>
                  <a:lnTo>
                    <a:pt x="434" y="534"/>
                  </a:lnTo>
                  <a:lnTo>
                    <a:pt x="430" y="529"/>
                  </a:lnTo>
                  <a:lnTo>
                    <a:pt x="425" y="521"/>
                  </a:lnTo>
                  <a:lnTo>
                    <a:pt x="422" y="511"/>
                  </a:lnTo>
                  <a:lnTo>
                    <a:pt x="418" y="501"/>
                  </a:lnTo>
                  <a:lnTo>
                    <a:pt x="416" y="489"/>
                  </a:lnTo>
                  <a:lnTo>
                    <a:pt x="414" y="477"/>
                  </a:lnTo>
                  <a:lnTo>
                    <a:pt x="412" y="445"/>
                  </a:lnTo>
                  <a:lnTo>
                    <a:pt x="412" y="372"/>
                  </a:lnTo>
                  <a:lnTo>
                    <a:pt x="412" y="353"/>
                  </a:lnTo>
                  <a:lnTo>
                    <a:pt x="414" y="335"/>
                  </a:lnTo>
                  <a:lnTo>
                    <a:pt x="419" y="299"/>
                  </a:lnTo>
                  <a:lnTo>
                    <a:pt x="427" y="264"/>
                  </a:lnTo>
                  <a:lnTo>
                    <a:pt x="438" y="231"/>
                  </a:lnTo>
                  <a:lnTo>
                    <a:pt x="452" y="198"/>
                  </a:lnTo>
                  <a:lnTo>
                    <a:pt x="469" y="168"/>
                  </a:lnTo>
                  <a:lnTo>
                    <a:pt x="486" y="139"/>
                  </a:lnTo>
                  <a:lnTo>
                    <a:pt x="508" y="113"/>
                  </a:lnTo>
                  <a:lnTo>
                    <a:pt x="532" y="88"/>
                  </a:lnTo>
                  <a:lnTo>
                    <a:pt x="544" y="77"/>
                  </a:lnTo>
                  <a:lnTo>
                    <a:pt x="558" y="66"/>
                  </a:lnTo>
                  <a:lnTo>
                    <a:pt x="572" y="56"/>
                  </a:lnTo>
                  <a:lnTo>
                    <a:pt x="585" y="47"/>
                  </a:lnTo>
                  <a:lnTo>
                    <a:pt x="600" y="38"/>
                  </a:lnTo>
                  <a:lnTo>
                    <a:pt x="616" y="30"/>
                  </a:lnTo>
                  <a:lnTo>
                    <a:pt x="631" y="23"/>
                  </a:lnTo>
                  <a:lnTo>
                    <a:pt x="646" y="18"/>
                  </a:lnTo>
                  <a:lnTo>
                    <a:pt x="662" y="12"/>
                  </a:lnTo>
                  <a:lnTo>
                    <a:pt x="679" y="8"/>
                  </a:lnTo>
                  <a:lnTo>
                    <a:pt x="697" y="5"/>
                  </a:lnTo>
                  <a:lnTo>
                    <a:pt x="713" y="3"/>
                  </a:lnTo>
                  <a:lnTo>
                    <a:pt x="731" y="1"/>
                  </a:lnTo>
                  <a:lnTo>
                    <a:pt x="749" y="0"/>
                  </a:lnTo>
                  <a:lnTo>
                    <a:pt x="767" y="1"/>
                  </a:lnTo>
                  <a:lnTo>
                    <a:pt x="785" y="3"/>
                  </a:lnTo>
                  <a:lnTo>
                    <a:pt x="801" y="5"/>
                  </a:lnTo>
                  <a:lnTo>
                    <a:pt x="819" y="8"/>
                  </a:lnTo>
                  <a:lnTo>
                    <a:pt x="835" y="12"/>
                  </a:lnTo>
                  <a:lnTo>
                    <a:pt x="852" y="18"/>
                  </a:lnTo>
                  <a:lnTo>
                    <a:pt x="867" y="23"/>
                  </a:lnTo>
                  <a:lnTo>
                    <a:pt x="882" y="30"/>
                  </a:lnTo>
                  <a:lnTo>
                    <a:pt x="897" y="38"/>
                  </a:lnTo>
                  <a:lnTo>
                    <a:pt x="912" y="47"/>
                  </a:lnTo>
                  <a:lnTo>
                    <a:pt x="926" y="56"/>
                  </a:lnTo>
                  <a:lnTo>
                    <a:pt x="940" y="66"/>
                  </a:lnTo>
                  <a:lnTo>
                    <a:pt x="954" y="77"/>
                  </a:lnTo>
                  <a:lnTo>
                    <a:pt x="966" y="88"/>
                  </a:lnTo>
                  <a:lnTo>
                    <a:pt x="989" y="113"/>
                  </a:lnTo>
                  <a:lnTo>
                    <a:pt x="1011" y="139"/>
                  </a:lnTo>
                  <a:lnTo>
                    <a:pt x="1029" y="168"/>
                  </a:lnTo>
                  <a:lnTo>
                    <a:pt x="1046" y="198"/>
                  </a:lnTo>
                  <a:lnTo>
                    <a:pt x="1059" y="231"/>
                  </a:lnTo>
                  <a:lnTo>
                    <a:pt x="1070" y="264"/>
                  </a:lnTo>
                  <a:lnTo>
                    <a:pt x="1079" y="299"/>
                  </a:lnTo>
                  <a:lnTo>
                    <a:pt x="1084" y="335"/>
                  </a:lnTo>
                  <a:lnTo>
                    <a:pt x="1085" y="353"/>
                  </a:lnTo>
                  <a:lnTo>
                    <a:pt x="1085" y="372"/>
                  </a:lnTo>
                  <a:close/>
                  <a:moveTo>
                    <a:pt x="911" y="199"/>
                  </a:moveTo>
                  <a:lnTo>
                    <a:pt x="911" y="199"/>
                  </a:lnTo>
                  <a:lnTo>
                    <a:pt x="925" y="217"/>
                  </a:lnTo>
                  <a:lnTo>
                    <a:pt x="938" y="236"/>
                  </a:lnTo>
                  <a:lnTo>
                    <a:pt x="948" y="257"/>
                  </a:lnTo>
                  <a:lnTo>
                    <a:pt x="958" y="278"/>
                  </a:lnTo>
                  <a:lnTo>
                    <a:pt x="966" y="301"/>
                  </a:lnTo>
                  <a:lnTo>
                    <a:pt x="971" y="326"/>
                  </a:lnTo>
                  <a:lnTo>
                    <a:pt x="974" y="350"/>
                  </a:lnTo>
                  <a:lnTo>
                    <a:pt x="976" y="376"/>
                  </a:lnTo>
                  <a:lnTo>
                    <a:pt x="976" y="463"/>
                  </a:lnTo>
                  <a:lnTo>
                    <a:pt x="974" y="489"/>
                  </a:lnTo>
                  <a:lnTo>
                    <a:pt x="970" y="514"/>
                  </a:lnTo>
                  <a:lnTo>
                    <a:pt x="965" y="539"/>
                  </a:lnTo>
                  <a:lnTo>
                    <a:pt x="958" y="561"/>
                  </a:lnTo>
                  <a:lnTo>
                    <a:pt x="948" y="582"/>
                  </a:lnTo>
                  <a:lnTo>
                    <a:pt x="937" y="603"/>
                  </a:lnTo>
                  <a:lnTo>
                    <a:pt x="925" y="622"/>
                  </a:lnTo>
                  <a:lnTo>
                    <a:pt x="911" y="640"/>
                  </a:lnTo>
                  <a:lnTo>
                    <a:pt x="894" y="657"/>
                  </a:lnTo>
                  <a:lnTo>
                    <a:pt x="878" y="670"/>
                  </a:lnTo>
                  <a:lnTo>
                    <a:pt x="860" y="683"/>
                  </a:lnTo>
                  <a:lnTo>
                    <a:pt x="841" y="692"/>
                  </a:lnTo>
                  <a:lnTo>
                    <a:pt x="822" y="701"/>
                  </a:lnTo>
                  <a:lnTo>
                    <a:pt x="801" y="708"/>
                  </a:lnTo>
                  <a:lnTo>
                    <a:pt x="779" y="710"/>
                  </a:lnTo>
                  <a:lnTo>
                    <a:pt x="757" y="712"/>
                  </a:lnTo>
                  <a:lnTo>
                    <a:pt x="735" y="710"/>
                  </a:lnTo>
                  <a:lnTo>
                    <a:pt x="714" y="708"/>
                  </a:lnTo>
                  <a:lnTo>
                    <a:pt x="694" y="701"/>
                  </a:lnTo>
                  <a:lnTo>
                    <a:pt x="673" y="692"/>
                  </a:lnTo>
                  <a:lnTo>
                    <a:pt x="655" y="683"/>
                  </a:lnTo>
                  <a:lnTo>
                    <a:pt x="636" y="670"/>
                  </a:lnTo>
                  <a:lnTo>
                    <a:pt x="620" y="657"/>
                  </a:lnTo>
                  <a:lnTo>
                    <a:pt x="605" y="640"/>
                  </a:lnTo>
                  <a:lnTo>
                    <a:pt x="591" y="622"/>
                  </a:lnTo>
                  <a:lnTo>
                    <a:pt x="577" y="603"/>
                  </a:lnTo>
                  <a:lnTo>
                    <a:pt x="566" y="582"/>
                  </a:lnTo>
                  <a:lnTo>
                    <a:pt x="556" y="561"/>
                  </a:lnTo>
                  <a:lnTo>
                    <a:pt x="550" y="539"/>
                  </a:lnTo>
                  <a:lnTo>
                    <a:pt x="544" y="514"/>
                  </a:lnTo>
                  <a:lnTo>
                    <a:pt x="540" y="489"/>
                  </a:lnTo>
                  <a:lnTo>
                    <a:pt x="540" y="463"/>
                  </a:lnTo>
                  <a:lnTo>
                    <a:pt x="540" y="434"/>
                  </a:lnTo>
                  <a:lnTo>
                    <a:pt x="569" y="438"/>
                  </a:lnTo>
                  <a:lnTo>
                    <a:pt x="599" y="440"/>
                  </a:lnTo>
                  <a:lnTo>
                    <a:pt x="627" y="438"/>
                  </a:lnTo>
                  <a:lnTo>
                    <a:pt x="654" y="434"/>
                  </a:lnTo>
                  <a:lnTo>
                    <a:pt x="680" y="429"/>
                  </a:lnTo>
                  <a:lnTo>
                    <a:pt x="705" y="422"/>
                  </a:lnTo>
                  <a:lnTo>
                    <a:pt x="730" y="412"/>
                  </a:lnTo>
                  <a:lnTo>
                    <a:pt x="753" y="400"/>
                  </a:lnTo>
                  <a:lnTo>
                    <a:pt x="776" y="386"/>
                  </a:lnTo>
                  <a:lnTo>
                    <a:pt x="797" y="371"/>
                  </a:lnTo>
                  <a:lnTo>
                    <a:pt x="818" y="354"/>
                  </a:lnTo>
                  <a:lnTo>
                    <a:pt x="835" y="337"/>
                  </a:lnTo>
                  <a:lnTo>
                    <a:pt x="852" y="316"/>
                  </a:lnTo>
                  <a:lnTo>
                    <a:pt x="868" y="295"/>
                  </a:lnTo>
                  <a:lnTo>
                    <a:pt x="882" y="273"/>
                  </a:lnTo>
                  <a:lnTo>
                    <a:pt x="893" y="250"/>
                  </a:lnTo>
                  <a:lnTo>
                    <a:pt x="903" y="225"/>
                  </a:lnTo>
                  <a:lnTo>
                    <a:pt x="911" y="199"/>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646464"/>
                </a:solidFill>
              </a:endParaRPr>
            </a:p>
          </p:txBody>
        </p:sp>
        <p:sp>
          <p:nvSpPr>
            <p:cNvPr id="33" name="Freeform 108"/>
            <p:cNvSpPr>
              <a:spLocks noChangeAspect="1" noEditPoints="1"/>
            </p:cNvSpPr>
            <p:nvPr/>
          </p:nvSpPr>
          <p:spPr bwMode="auto">
            <a:xfrm>
              <a:off x="6097913" y="4932759"/>
              <a:ext cx="128183" cy="359148"/>
            </a:xfrm>
            <a:custGeom>
              <a:avLst/>
              <a:gdLst>
                <a:gd name="T0" fmla="*/ 2147483647 w 1700"/>
                <a:gd name="T1" fmla="*/ 2147483647 h 4763"/>
                <a:gd name="T2" fmla="*/ 2147483647 w 1700"/>
                <a:gd name="T3" fmla="*/ 2147483647 h 4763"/>
                <a:gd name="T4" fmla="*/ 2147483647 w 1700"/>
                <a:gd name="T5" fmla="*/ 2147483647 h 4763"/>
                <a:gd name="T6" fmla="*/ 2147483647 w 1700"/>
                <a:gd name="T7" fmla="*/ 2147483647 h 4763"/>
                <a:gd name="T8" fmla="*/ 2147483647 w 1700"/>
                <a:gd name="T9" fmla="*/ 2147483647 h 4763"/>
                <a:gd name="T10" fmla="*/ 2147483647 w 1700"/>
                <a:gd name="T11" fmla="*/ 2147483647 h 4763"/>
                <a:gd name="T12" fmla="*/ 2147483647 w 1700"/>
                <a:gd name="T13" fmla="*/ 2147483647 h 4763"/>
                <a:gd name="T14" fmla="*/ 2147483647 w 1700"/>
                <a:gd name="T15" fmla="*/ 2147483647 h 4763"/>
                <a:gd name="T16" fmla="*/ 2147483647 w 1700"/>
                <a:gd name="T17" fmla="*/ 2147483647 h 4763"/>
                <a:gd name="T18" fmla="*/ 2147483647 w 1700"/>
                <a:gd name="T19" fmla="*/ 2147483647 h 4763"/>
                <a:gd name="T20" fmla="*/ 2147483647 w 1700"/>
                <a:gd name="T21" fmla="*/ 2147483647 h 4763"/>
                <a:gd name="T22" fmla="*/ 2147483647 w 1700"/>
                <a:gd name="T23" fmla="*/ 2147483647 h 4763"/>
                <a:gd name="T24" fmla="*/ 2147483647 w 1700"/>
                <a:gd name="T25" fmla="*/ 2147483647 h 4763"/>
                <a:gd name="T26" fmla="*/ 2147483647 w 1700"/>
                <a:gd name="T27" fmla="*/ 2147483647 h 4763"/>
                <a:gd name="T28" fmla="*/ 2147483647 w 1700"/>
                <a:gd name="T29" fmla="*/ 2147483647 h 4763"/>
                <a:gd name="T30" fmla="*/ 2147483647 w 1700"/>
                <a:gd name="T31" fmla="*/ 2147483647 h 4763"/>
                <a:gd name="T32" fmla="*/ 2147483647 w 1700"/>
                <a:gd name="T33" fmla="*/ 2147483647 h 4763"/>
                <a:gd name="T34" fmla="*/ 2147483647 w 1700"/>
                <a:gd name="T35" fmla="*/ 2147483647 h 4763"/>
                <a:gd name="T36" fmla="*/ 2147483647 w 1700"/>
                <a:gd name="T37" fmla="*/ 2147483647 h 4763"/>
                <a:gd name="T38" fmla="*/ 2147483647 w 1700"/>
                <a:gd name="T39" fmla="*/ 2147483647 h 4763"/>
                <a:gd name="T40" fmla="*/ 2147483647 w 1700"/>
                <a:gd name="T41" fmla="*/ 0 h 4763"/>
                <a:gd name="T42" fmla="*/ 2147483647 w 1700"/>
                <a:gd name="T43" fmla="*/ 2147483647 h 4763"/>
                <a:gd name="T44" fmla="*/ 2147483647 w 1700"/>
                <a:gd name="T45" fmla="*/ 2147483647 h 4763"/>
                <a:gd name="T46" fmla="*/ 2147483647 w 1700"/>
                <a:gd name="T47" fmla="*/ 2147483647 h 4763"/>
                <a:gd name="T48" fmla="*/ 2147483647 w 1700"/>
                <a:gd name="T49" fmla="*/ 2147483647 h 4763"/>
                <a:gd name="T50" fmla="*/ 2147483647 w 1700"/>
                <a:gd name="T51" fmla="*/ 2147483647 h 4763"/>
                <a:gd name="T52" fmla="*/ 2147483647 w 1700"/>
                <a:gd name="T53" fmla="*/ 2147483647 h 4763"/>
                <a:gd name="T54" fmla="*/ 2147483647 w 1700"/>
                <a:gd name="T55" fmla="*/ 2147483647 h 4763"/>
                <a:gd name="T56" fmla="*/ 2147483647 w 1700"/>
                <a:gd name="T57" fmla="*/ 2147483647 h 4763"/>
                <a:gd name="T58" fmla="*/ 2147483647 w 1700"/>
                <a:gd name="T59" fmla="*/ 2147483647 h 4763"/>
                <a:gd name="T60" fmla="*/ 2147483647 w 1700"/>
                <a:gd name="T61" fmla="*/ 2147483647 h 4763"/>
                <a:gd name="T62" fmla="*/ 2147483647 w 1700"/>
                <a:gd name="T63" fmla="*/ 2147483647 h 4763"/>
                <a:gd name="T64" fmla="*/ 2147483647 w 1700"/>
                <a:gd name="T65" fmla="*/ 2147483647 h 4763"/>
                <a:gd name="T66" fmla="*/ 2147483647 w 1700"/>
                <a:gd name="T67" fmla="*/ 2147483647 h 4763"/>
                <a:gd name="T68" fmla="*/ 2147483647 w 1700"/>
                <a:gd name="T69" fmla="*/ 2147483647 h 4763"/>
                <a:gd name="T70" fmla="*/ 2147483647 w 1700"/>
                <a:gd name="T71" fmla="*/ 2147483647 h 4763"/>
                <a:gd name="T72" fmla="*/ 2147483647 w 1700"/>
                <a:gd name="T73" fmla="*/ 2147483647 h 4763"/>
                <a:gd name="T74" fmla="*/ 2147483647 w 1700"/>
                <a:gd name="T75" fmla="*/ 2147483647 h 4763"/>
                <a:gd name="T76" fmla="*/ 2147483647 w 1700"/>
                <a:gd name="T77" fmla="*/ 2147483647 h 4763"/>
                <a:gd name="T78" fmla="*/ 2147483647 w 1700"/>
                <a:gd name="T79" fmla="*/ 2147483647 h 4763"/>
                <a:gd name="T80" fmla="*/ 2147483647 w 1700"/>
                <a:gd name="T81" fmla="*/ 2147483647 h 4763"/>
                <a:gd name="T82" fmla="*/ 2147483647 w 1700"/>
                <a:gd name="T83" fmla="*/ 2147483647 h 4763"/>
                <a:gd name="T84" fmla="*/ 2147483647 w 1700"/>
                <a:gd name="T85" fmla="*/ 2147483647 h 4763"/>
                <a:gd name="T86" fmla="*/ 2147483647 w 1700"/>
                <a:gd name="T87" fmla="*/ 2147483647 h 4763"/>
                <a:gd name="T88" fmla="*/ 2147483647 w 1700"/>
                <a:gd name="T89" fmla="*/ 2147483647 h 4763"/>
                <a:gd name="T90" fmla="*/ 0 w 1700"/>
                <a:gd name="T91" fmla="*/ 2147483647 h 4763"/>
                <a:gd name="T92" fmla="*/ 2147483647 w 1700"/>
                <a:gd name="T93" fmla="*/ 2147483647 h 4763"/>
                <a:gd name="T94" fmla="*/ 2147483647 w 1700"/>
                <a:gd name="T95" fmla="*/ 2147483647 h 4763"/>
                <a:gd name="T96" fmla="*/ 2147483647 w 1700"/>
                <a:gd name="T97" fmla="*/ 2147483647 h 4763"/>
                <a:gd name="T98" fmla="*/ 2147483647 w 1700"/>
                <a:gd name="T99" fmla="*/ 2147483647 h 4763"/>
                <a:gd name="T100" fmla="*/ 2147483647 w 1700"/>
                <a:gd name="T101" fmla="*/ 2147483647 h 4763"/>
                <a:gd name="T102" fmla="*/ 2147483647 w 1700"/>
                <a:gd name="T103" fmla="*/ 2147483647 h 4763"/>
                <a:gd name="T104" fmla="*/ 2147483647 w 1700"/>
                <a:gd name="T105" fmla="*/ 2147483647 h 4763"/>
                <a:gd name="T106" fmla="*/ 2147483647 w 1700"/>
                <a:gd name="T107" fmla="*/ 2147483647 h 4763"/>
                <a:gd name="T108" fmla="*/ 2147483647 w 1700"/>
                <a:gd name="T109" fmla="*/ 2147483647 h 4763"/>
                <a:gd name="T110" fmla="*/ 2147483647 w 1700"/>
                <a:gd name="T111" fmla="*/ 2147483647 h 4763"/>
                <a:gd name="T112" fmla="*/ 2147483647 w 1700"/>
                <a:gd name="T113" fmla="*/ 2147483647 h 4763"/>
                <a:gd name="T114" fmla="*/ 2147483647 w 1700"/>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00"/>
                <a:gd name="T175" fmla="*/ 0 h 4763"/>
                <a:gd name="T176" fmla="*/ 1700 w 1700"/>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00" h="4763">
                  <a:moveTo>
                    <a:pt x="638" y="216"/>
                  </a:moveTo>
                  <a:lnTo>
                    <a:pt x="638" y="216"/>
                  </a:lnTo>
                  <a:lnTo>
                    <a:pt x="634" y="235"/>
                  </a:lnTo>
                  <a:lnTo>
                    <a:pt x="630" y="255"/>
                  </a:lnTo>
                  <a:lnTo>
                    <a:pt x="628" y="276"/>
                  </a:lnTo>
                  <a:lnTo>
                    <a:pt x="628" y="297"/>
                  </a:lnTo>
                  <a:lnTo>
                    <a:pt x="628" y="368"/>
                  </a:lnTo>
                  <a:lnTo>
                    <a:pt x="628" y="393"/>
                  </a:lnTo>
                  <a:lnTo>
                    <a:pt x="632" y="418"/>
                  </a:lnTo>
                  <a:lnTo>
                    <a:pt x="637" y="442"/>
                  </a:lnTo>
                  <a:lnTo>
                    <a:pt x="645" y="465"/>
                  </a:lnTo>
                  <a:lnTo>
                    <a:pt x="653" y="486"/>
                  </a:lnTo>
                  <a:lnTo>
                    <a:pt x="665" y="506"/>
                  </a:lnTo>
                  <a:lnTo>
                    <a:pt x="677" y="525"/>
                  </a:lnTo>
                  <a:lnTo>
                    <a:pt x="691" y="542"/>
                  </a:lnTo>
                  <a:lnTo>
                    <a:pt x="706" y="558"/>
                  </a:lnTo>
                  <a:lnTo>
                    <a:pt x="723" y="571"/>
                  </a:lnTo>
                  <a:lnTo>
                    <a:pt x="741" y="583"/>
                  </a:lnTo>
                  <a:lnTo>
                    <a:pt x="759" y="594"/>
                  </a:lnTo>
                  <a:lnTo>
                    <a:pt x="778" y="602"/>
                  </a:lnTo>
                  <a:lnTo>
                    <a:pt x="799" y="607"/>
                  </a:lnTo>
                  <a:lnTo>
                    <a:pt x="819" y="611"/>
                  </a:lnTo>
                  <a:lnTo>
                    <a:pt x="841" y="612"/>
                  </a:lnTo>
                  <a:lnTo>
                    <a:pt x="863" y="611"/>
                  </a:lnTo>
                  <a:lnTo>
                    <a:pt x="883" y="607"/>
                  </a:lnTo>
                  <a:lnTo>
                    <a:pt x="904" y="602"/>
                  </a:lnTo>
                  <a:lnTo>
                    <a:pt x="922" y="594"/>
                  </a:lnTo>
                  <a:lnTo>
                    <a:pt x="941" y="583"/>
                  </a:lnTo>
                  <a:lnTo>
                    <a:pt x="959" y="571"/>
                  </a:lnTo>
                  <a:lnTo>
                    <a:pt x="975" y="558"/>
                  </a:lnTo>
                  <a:lnTo>
                    <a:pt x="990" y="542"/>
                  </a:lnTo>
                  <a:lnTo>
                    <a:pt x="1005" y="525"/>
                  </a:lnTo>
                  <a:lnTo>
                    <a:pt x="1017" y="506"/>
                  </a:lnTo>
                  <a:lnTo>
                    <a:pt x="1028" y="486"/>
                  </a:lnTo>
                  <a:lnTo>
                    <a:pt x="1036" y="465"/>
                  </a:lnTo>
                  <a:lnTo>
                    <a:pt x="1044" y="442"/>
                  </a:lnTo>
                  <a:lnTo>
                    <a:pt x="1050" y="418"/>
                  </a:lnTo>
                  <a:lnTo>
                    <a:pt x="1054" y="393"/>
                  </a:lnTo>
                  <a:lnTo>
                    <a:pt x="1054" y="368"/>
                  </a:lnTo>
                  <a:lnTo>
                    <a:pt x="1054" y="297"/>
                  </a:lnTo>
                  <a:lnTo>
                    <a:pt x="1054" y="274"/>
                  </a:lnTo>
                  <a:lnTo>
                    <a:pt x="1051" y="251"/>
                  </a:lnTo>
                  <a:lnTo>
                    <a:pt x="1046" y="230"/>
                  </a:lnTo>
                  <a:lnTo>
                    <a:pt x="1040" y="208"/>
                  </a:lnTo>
                  <a:lnTo>
                    <a:pt x="1032" y="198"/>
                  </a:lnTo>
                  <a:lnTo>
                    <a:pt x="1025" y="189"/>
                  </a:lnTo>
                  <a:lnTo>
                    <a:pt x="1017" y="179"/>
                  </a:lnTo>
                  <a:lnTo>
                    <a:pt x="1007" y="171"/>
                  </a:lnTo>
                  <a:lnTo>
                    <a:pt x="997" y="163"/>
                  </a:lnTo>
                  <a:lnTo>
                    <a:pt x="986" y="157"/>
                  </a:lnTo>
                  <a:lnTo>
                    <a:pt x="963" y="145"/>
                  </a:lnTo>
                  <a:lnTo>
                    <a:pt x="952" y="158"/>
                  </a:lnTo>
                  <a:lnTo>
                    <a:pt x="938" y="170"/>
                  </a:lnTo>
                  <a:lnTo>
                    <a:pt x="924" y="181"/>
                  </a:lnTo>
                  <a:lnTo>
                    <a:pt x="908" y="190"/>
                  </a:lnTo>
                  <a:lnTo>
                    <a:pt x="892" y="197"/>
                  </a:lnTo>
                  <a:lnTo>
                    <a:pt x="873" y="202"/>
                  </a:lnTo>
                  <a:lnTo>
                    <a:pt x="855" y="206"/>
                  </a:lnTo>
                  <a:lnTo>
                    <a:pt x="836" y="207"/>
                  </a:lnTo>
                  <a:lnTo>
                    <a:pt x="817" y="206"/>
                  </a:lnTo>
                  <a:lnTo>
                    <a:pt x="800" y="203"/>
                  </a:lnTo>
                  <a:lnTo>
                    <a:pt x="783" y="198"/>
                  </a:lnTo>
                  <a:lnTo>
                    <a:pt x="767" y="191"/>
                  </a:lnTo>
                  <a:lnTo>
                    <a:pt x="751" y="183"/>
                  </a:lnTo>
                  <a:lnTo>
                    <a:pt x="737" y="173"/>
                  </a:lnTo>
                  <a:lnTo>
                    <a:pt x="725" y="162"/>
                  </a:lnTo>
                  <a:lnTo>
                    <a:pt x="713" y="149"/>
                  </a:lnTo>
                  <a:lnTo>
                    <a:pt x="690" y="162"/>
                  </a:lnTo>
                  <a:lnTo>
                    <a:pt x="679" y="169"/>
                  </a:lnTo>
                  <a:lnTo>
                    <a:pt x="670" y="178"/>
                  </a:lnTo>
                  <a:lnTo>
                    <a:pt x="661" y="186"/>
                  </a:lnTo>
                  <a:lnTo>
                    <a:pt x="653" y="195"/>
                  </a:lnTo>
                  <a:lnTo>
                    <a:pt x="645" y="206"/>
                  </a:lnTo>
                  <a:lnTo>
                    <a:pt x="638" y="216"/>
                  </a:lnTo>
                  <a:close/>
                  <a:moveTo>
                    <a:pt x="841" y="0"/>
                  </a:moveTo>
                  <a:lnTo>
                    <a:pt x="841" y="0"/>
                  </a:lnTo>
                  <a:lnTo>
                    <a:pt x="868" y="1"/>
                  </a:lnTo>
                  <a:lnTo>
                    <a:pt x="896" y="5"/>
                  </a:lnTo>
                  <a:lnTo>
                    <a:pt x="921" y="13"/>
                  </a:lnTo>
                  <a:lnTo>
                    <a:pt x="946" y="24"/>
                  </a:lnTo>
                  <a:lnTo>
                    <a:pt x="969" y="36"/>
                  </a:lnTo>
                  <a:lnTo>
                    <a:pt x="991" y="50"/>
                  </a:lnTo>
                  <a:lnTo>
                    <a:pt x="1011" y="68"/>
                  </a:lnTo>
                  <a:lnTo>
                    <a:pt x="1031" y="88"/>
                  </a:lnTo>
                  <a:lnTo>
                    <a:pt x="1047" y="109"/>
                  </a:lnTo>
                  <a:lnTo>
                    <a:pt x="1063" y="131"/>
                  </a:lnTo>
                  <a:lnTo>
                    <a:pt x="1076" y="157"/>
                  </a:lnTo>
                  <a:lnTo>
                    <a:pt x="1087" y="182"/>
                  </a:lnTo>
                  <a:lnTo>
                    <a:pt x="1096" y="210"/>
                  </a:lnTo>
                  <a:lnTo>
                    <a:pt x="1103" y="238"/>
                  </a:lnTo>
                  <a:lnTo>
                    <a:pt x="1107" y="267"/>
                  </a:lnTo>
                  <a:lnTo>
                    <a:pt x="1107" y="296"/>
                  </a:lnTo>
                  <a:lnTo>
                    <a:pt x="1108" y="340"/>
                  </a:lnTo>
                  <a:lnTo>
                    <a:pt x="1108" y="369"/>
                  </a:lnTo>
                  <a:lnTo>
                    <a:pt x="1108" y="380"/>
                  </a:lnTo>
                  <a:lnTo>
                    <a:pt x="1107" y="385"/>
                  </a:lnTo>
                  <a:lnTo>
                    <a:pt x="1105" y="413"/>
                  </a:lnTo>
                  <a:lnTo>
                    <a:pt x="1101" y="441"/>
                  </a:lnTo>
                  <a:lnTo>
                    <a:pt x="1095" y="467"/>
                  </a:lnTo>
                  <a:lnTo>
                    <a:pt x="1086" y="494"/>
                  </a:lnTo>
                  <a:lnTo>
                    <a:pt x="1074" y="518"/>
                  </a:lnTo>
                  <a:lnTo>
                    <a:pt x="1060" y="542"/>
                  </a:lnTo>
                  <a:lnTo>
                    <a:pt x="1044" y="563"/>
                  </a:lnTo>
                  <a:lnTo>
                    <a:pt x="1027" y="583"/>
                  </a:lnTo>
                  <a:lnTo>
                    <a:pt x="1009" y="602"/>
                  </a:lnTo>
                  <a:lnTo>
                    <a:pt x="989" y="617"/>
                  </a:lnTo>
                  <a:lnTo>
                    <a:pt x="966" y="631"/>
                  </a:lnTo>
                  <a:lnTo>
                    <a:pt x="944" y="643"/>
                  </a:lnTo>
                  <a:lnTo>
                    <a:pt x="918" y="652"/>
                  </a:lnTo>
                  <a:lnTo>
                    <a:pt x="893" y="660"/>
                  </a:lnTo>
                  <a:lnTo>
                    <a:pt x="868" y="664"/>
                  </a:lnTo>
                  <a:lnTo>
                    <a:pt x="841" y="665"/>
                  </a:lnTo>
                  <a:lnTo>
                    <a:pt x="814" y="664"/>
                  </a:lnTo>
                  <a:lnTo>
                    <a:pt x="788" y="660"/>
                  </a:lnTo>
                  <a:lnTo>
                    <a:pt x="763" y="652"/>
                  </a:lnTo>
                  <a:lnTo>
                    <a:pt x="738" y="643"/>
                  </a:lnTo>
                  <a:lnTo>
                    <a:pt x="715" y="631"/>
                  </a:lnTo>
                  <a:lnTo>
                    <a:pt x="693" y="617"/>
                  </a:lnTo>
                  <a:lnTo>
                    <a:pt x="673" y="602"/>
                  </a:lnTo>
                  <a:lnTo>
                    <a:pt x="654" y="583"/>
                  </a:lnTo>
                  <a:lnTo>
                    <a:pt x="637" y="563"/>
                  </a:lnTo>
                  <a:lnTo>
                    <a:pt x="621" y="542"/>
                  </a:lnTo>
                  <a:lnTo>
                    <a:pt x="608" y="518"/>
                  </a:lnTo>
                  <a:lnTo>
                    <a:pt x="596" y="494"/>
                  </a:lnTo>
                  <a:lnTo>
                    <a:pt x="587" y="467"/>
                  </a:lnTo>
                  <a:lnTo>
                    <a:pt x="580" y="441"/>
                  </a:lnTo>
                  <a:lnTo>
                    <a:pt x="576" y="413"/>
                  </a:lnTo>
                  <a:lnTo>
                    <a:pt x="575" y="385"/>
                  </a:lnTo>
                  <a:lnTo>
                    <a:pt x="573" y="380"/>
                  </a:lnTo>
                  <a:lnTo>
                    <a:pt x="573" y="369"/>
                  </a:lnTo>
                  <a:lnTo>
                    <a:pt x="573" y="340"/>
                  </a:lnTo>
                  <a:lnTo>
                    <a:pt x="575" y="297"/>
                  </a:lnTo>
                  <a:lnTo>
                    <a:pt x="576" y="267"/>
                  </a:lnTo>
                  <a:lnTo>
                    <a:pt x="579" y="238"/>
                  </a:lnTo>
                  <a:lnTo>
                    <a:pt x="585" y="210"/>
                  </a:lnTo>
                  <a:lnTo>
                    <a:pt x="595" y="182"/>
                  </a:lnTo>
                  <a:lnTo>
                    <a:pt x="605" y="157"/>
                  </a:lnTo>
                  <a:lnTo>
                    <a:pt x="618" y="131"/>
                  </a:lnTo>
                  <a:lnTo>
                    <a:pt x="634" y="109"/>
                  </a:lnTo>
                  <a:lnTo>
                    <a:pt x="650" y="88"/>
                  </a:lnTo>
                  <a:lnTo>
                    <a:pt x="670" y="69"/>
                  </a:lnTo>
                  <a:lnTo>
                    <a:pt x="690" y="50"/>
                  </a:lnTo>
                  <a:lnTo>
                    <a:pt x="713" y="36"/>
                  </a:lnTo>
                  <a:lnTo>
                    <a:pt x="735" y="24"/>
                  </a:lnTo>
                  <a:lnTo>
                    <a:pt x="760" y="13"/>
                  </a:lnTo>
                  <a:lnTo>
                    <a:pt x="786" y="5"/>
                  </a:lnTo>
                  <a:lnTo>
                    <a:pt x="814" y="1"/>
                  </a:lnTo>
                  <a:lnTo>
                    <a:pt x="841" y="0"/>
                  </a:lnTo>
                  <a:close/>
                  <a:moveTo>
                    <a:pt x="1417" y="3144"/>
                  </a:moveTo>
                  <a:lnTo>
                    <a:pt x="1538" y="3046"/>
                  </a:lnTo>
                  <a:lnTo>
                    <a:pt x="1600" y="2791"/>
                  </a:lnTo>
                  <a:lnTo>
                    <a:pt x="1655" y="2791"/>
                  </a:lnTo>
                  <a:lnTo>
                    <a:pt x="1585" y="3077"/>
                  </a:lnTo>
                  <a:lnTo>
                    <a:pt x="1413" y="3215"/>
                  </a:lnTo>
                  <a:lnTo>
                    <a:pt x="1343" y="4763"/>
                  </a:lnTo>
                  <a:lnTo>
                    <a:pt x="897" y="4763"/>
                  </a:lnTo>
                  <a:lnTo>
                    <a:pt x="897" y="2726"/>
                  </a:lnTo>
                  <a:lnTo>
                    <a:pt x="844" y="2726"/>
                  </a:lnTo>
                  <a:lnTo>
                    <a:pt x="844" y="4763"/>
                  </a:lnTo>
                  <a:lnTo>
                    <a:pt x="398" y="4763"/>
                  </a:lnTo>
                  <a:lnTo>
                    <a:pt x="326" y="3217"/>
                  </a:lnTo>
                  <a:lnTo>
                    <a:pt x="153" y="3077"/>
                  </a:lnTo>
                  <a:lnTo>
                    <a:pt x="82" y="2791"/>
                  </a:lnTo>
                  <a:lnTo>
                    <a:pt x="137" y="2791"/>
                  </a:lnTo>
                  <a:lnTo>
                    <a:pt x="199" y="3046"/>
                  </a:lnTo>
                  <a:lnTo>
                    <a:pt x="322" y="3147"/>
                  </a:lnTo>
                  <a:lnTo>
                    <a:pt x="304" y="2738"/>
                  </a:lnTo>
                  <a:lnTo>
                    <a:pt x="300" y="2738"/>
                  </a:lnTo>
                  <a:lnTo>
                    <a:pt x="0" y="2738"/>
                  </a:lnTo>
                  <a:lnTo>
                    <a:pt x="0" y="1086"/>
                  </a:lnTo>
                  <a:lnTo>
                    <a:pt x="1" y="1065"/>
                  </a:lnTo>
                  <a:lnTo>
                    <a:pt x="4" y="1045"/>
                  </a:lnTo>
                  <a:lnTo>
                    <a:pt x="9" y="1028"/>
                  </a:lnTo>
                  <a:lnTo>
                    <a:pt x="16" y="1012"/>
                  </a:lnTo>
                  <a:lnTo>
                    <a:pt x="25" y="997"/>
                  </a:lnTo>
                  <a:lnTo>
                    <a:pt x="35" y="983"/>
                  </a:lnTo>
                  <a:lnTo>
                    <a:pt x="46" y="971"/>
                  </a:lnTo>
                  <a:lnTo>
                    <a:pt x="60" y="959"/>
                  </a:lnTo>
                  <a:lnTo>
                    <a:pt x="74" y="948"/>
                  </a:lnTo>
                  <a:lnTo>
                    <a:pt x="89" y="939"/>
                  </a:lnTo>
                  <a:lnTo>
                    <a:pt x="106" y="929"/>
                  </a:lnTo>
                  <a:lnTo>
                    <a:pt x="123" y="920"/>
                  </a:lnTo>
                  <a:lnTo>
                    <a:pt x="162" y="904"/>
                  </a:lnTo>
                  <a:lnTo>
                    <a:pt x="202" y="890"/>
                  </a:lnTo>
                  <a:lnTo>
                    <a:pt x="606" y="742"/>
                  </a:lnTo>
                  <a:lnTo>
                    <a:pt x="738" y="1522"/>
                  </a:lnTo>
                  <a:lnTo>
                    <a:pt x="806" y="916"/>
                  </a:lnTo>
                  <a:lnTo>
                    <a:pt x="790" y="908"/>
                  </a:lnTo>
                  <a:lnTo>
                    <a:pt x="774" y="898"/>
                  </a:lnTo>
                  <a:lnTo>
                    <a:pt x="760" y="886"/>
                  </a:lnTo>
                  <a:lnTo>
                    <a:pt x="750" y="871"/>
                  </a:lnTo>
                  <a:lnTo>
                    <a:pt x="851" y="775"/>
                  </a:lnTo>
                  <a:lnTo>
                    <a:pt x="952" y="871"/>
                  </a:lnTo>
                  <a:lnTo>
                    <a:pt x="940" y="886"/>
                  </a:lnTo>
                  <a:lnTo>
                    <a:pt x="926" y="898"/>
                  </a:lnTo>
                  <a:lnTo>
                    <a:pt x="912" y="908"/>
                  </a:lnTo>
                  <a:lnTo>
                    <a:pt x="894" y="916"/>
                  </a:lnTo>
                  <a:lnTo>
                    <a:pt x="962" y="1522"/>
                  </a:lnTo>
                  <a:lnTo>
                    <a:pt x="1095" y="742"/>
                  </a:lnTo>
                  <a:lnTo>
                    <a:pt x="1500" y="890"/>
                  </a:lnTo>
                  <a:lnTo>
                    <a:pt x="1539" y="904"/>
                  </a:lnTo>
                  <a:lnTo>
                    <a:pt x="1577" y="920"/>
                  </a:lnTo>
                  <a:lnTo>
                    <a:pt x="1594" y="929"/>
                  </a:lnTo>
                  <a:lnTo>
                    <a:pt x="1611" y="939"/>
                  </a:lnTo>
                  <a:lnTo>
                    <a:pt x="1627" y="948"/>
                  </a:lnTo>
                  <a:lnTo>
                    <a:pt x="1642" y="959"/>
                  </a:lnTo>
                  <a:lnTo>
                    <a:pt x="1654" y="971"/>
                  </a:lnTo>
                  <a:lnTo>
                    <a:pt x="1665" y="983"/>
                  </a:lnTo>
                  <a:lnTo>
                    <a:pt x="1676" y="997"/>
                  </a:lnTo>
                  <a:lnTo>
                    <a:pt x="1684" y="1012"/>
                  </a:lnTo>
                  <a:lnTo>
                    <a:pt x="1691" y="1028"/>
                  </a:lnTo>
                  <a:lnTo>
                    <a:pt x="1696" y="1045"/>
                  </a:lnTo>
                  <a:lnTo>
                    <a:pt x="1699" y="1065"/>
                  </a:lnTo>
                  <a:lnTo>
                    <a:pt x="1700" y="1086"/>
                  </a:lnTo>
                  <a:lnTo>
                    <a:pt x="1700" y="2738"/>
                  </a:lnTo>
                  <a:lnTo>
                    <a:pt x="1436" y="2738"/>
                  </a:lnTo>
                  <a:lnTo>
                    <a:pt x="1417" y="3144"/>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646464"/>
                </a:solidFill>
              </a:endParaRPr>
            </a:p>
          </p:txBody>
        </p:sp>
        <p:sp>
          <p:nvSpPr>
            <p:cNvPr id="34" name="Freeform 63"/>
            <p:cNvSpPr>
              <a:spLocks noChangeAspect="1" noEditPoints="1"/>
            </p:cNvSpPr>
            <p:nvPr/>
          </p:nvSpPr>
          <p:spPr bwMode="auto">
            <a:xfrm>
              <a:off x="5922764" y="4932759"/>
              <a:ext cx="113415" cy="359148"/>
            </a:xfrm>
            <a:custGeom>
              <a:avLst/>
              <a:gdLst>
                <a:gd name="T0" fmla="*/ 2147483647 w 1510"/>
                <a:gd name="T1" fmla="*/ 2147483647 h 4763"/>
                <a:gd name="T2" fmla="*/ 2147483647 w 1510"/>
                <a:gd name="T3" fmla="*/ 2147483647 h 4763"/>
                <a:gd name="T4" fmla="*/ 2147483647 w 1510"/>
                <a:gd name="T5" fmla="*/ 2147483647 h 4763"/>
                <a:gd name="T6" fmla="*/ 2147483647 w 1510"/>
                <a:gd name="T7" fmla="*/ 2147483647 h 4763"/>
                <a:gd name="T8" fmla="*/ 2147483647 w 1510"/>
                <a:gd name="T9" fmla="*/ 2147483647 h 4763"/>
                <a:gd name="T10" fmla="*/ 2147483647 w 1510"/>
                <a:gd name="T11" fmla="*/ 2147483647 h 4763"/>
                <a:gd name="T12" fmla="*/ 2147483647 w 1510"/>
                <a:gd name="T13" fmla="*/ 2147483647 h 4763"/>
                <a:gd name="T14" fmla="*/ 2147483647 w 1510"/>
                <a:gd name="T15" fmla="*/ 2147483647 h 4763"/>
                <a:gd name="T16" fmla="*/ 2147483647 w 1510"/>
                <a:gd name="T17" fmla="*/ 2147483647 h 4763"/>
                <a:gd name="T18" fmla="*/ 2147483647 w 1510"/>
                <a:gd name="T19" fmla="*/ 2147483647 h 4763"/>
                <a:gd name="T20" fmla="*/ 2147483647 w 1510"/>
                <a:gd name="T21" fmla="*/ 2147483647 h 4763"/>
                <a:gd name="T22" fmla="*/ 2147483647 w 1510"/>
                <a:gd name="T23" fmla="*/ 2147483647 h 4763"/>
                <a:gd name="T24" fmla="*/ 2147483647 w 1510"/>
                <a:gd name="T25" fmla="*/ 2147483647 h 4763"/>
                <a:gd name="T26" fmla="*/ 2147483647 w 1510"/>
                <a:gd name="T27" fmla="*/ 2147483647 h 4763"/>
                <a:gd name="T28" fmla="*/ 2147483647 w 1510"/>
                <a:gd name="T29" fmla="*/ 2147483647 h 4763"/>
                <a:gd name="T30" fmla="*/ 2147483647 w 1510"/>
                <a:gd name="T31" fmla="*/ 2147483647 h 4763"/>
                <a:gd name="T32" fmla="*/ 2147483647 w 1510"/>
                <a:gd name="T33" fmla="*/ 2147483647 h 4763"/>
                <a:gd name="T34" fmla="*/ 2147483647 w 1510"/>
                <a:gd name="T35" fmla="*/ 2147483647 h 4763"/>
                <a:gd name="T36" fmla="*/ 2147483647 w 1510"/>
                <a:gd name="T37" fmla="*/ 2147483647 h 4763"/>
                <a:gd name="T38" fmla="*/ 2147483647 w 1510"/>
                <a:gd name="T39" fmla="*/ 2147483647 h 4763"/>
                <a:gd name="T40" fmla="*/ 2147483647 w 1510"/>
                <a:gd name="T41" fmla="*/ 2147483647 h 4763"/>
                <a:gd name="T42" fmla="*/ 2147483647 w 1510"/>
                <a:gd name="T43" fmla="*/ 2147483647 h 4763"/>
                <a:gd name="T44" fmla="*/ 2147483647 w 1510"/>
                <a:gd name="T45" fmla="*/ 2147483647 h 4763"/>
                <a:gd name="T46" fmla="*/ 2147483647 w 1510"/>
                <a:gd name="T47" fmla="*/ 2147483647 h 4763"/>
                <a:gd name="T48" fmla="*/ 2147483647 w 1510"/>
                <a:gd name="T49" fmla="*/ 2147483647 h 4763"/>
                <a:gd name="T50" fmla="*/ 2147483647 w 1510"/>
                <a:gd name="T51" fmla="*/ 2147483647 h 4763"/>
                <a:gd name="T52" fmla="*/ 2147483647 w 1510"/>
                <a:gd name="T53" fmla="*/ 2147483647 h 4763"/>
                <a:gd name="T54" fmla="*/ 2147483647 w 1510"/>
                <a:gd name="T55" fmla="*/ 2147483647 h 4763"/>
                <a:gd name="T56" fmla="*/ 2147483647 w 1510"/>
                <a:gd name="T57" fmla="*/ 2147483647 h 4763"/>
                <a:gd name="T58" fmla="*/ 2147483647 w 1510"/>
                <a:gd name="T59" fmla="*/ 2147483647 h 4763"/>
                <a:gd name="T60" fmla="*/ 2147483647 w 1510"/>
                <a:gd name="T61" fmla="*/ 2147483647 h 4763"/>
                <a:gd name="T62" fmla="*/ 2147483647 w 1510"/>
                <a:gd name="T63" fmla="*/ 2147483647 h 4763"/>
                <a:gd name="T64" fmla="*/ 2147483647 w 1510"/>
                <a:gd name="T65" fmla="*/ 2147483647 h 4763"/>
                <a:gd name="T66" fmla="*/ 2147483647 w 1510"/>
                <a:gd name="T67" fmla="*/ 2147483647 h 4763"/>
                <a:gd name="T68" fmla="*/ 2147483647 w 1510"/>
                <a:gd name="T69" fmla="*/ 2147483647 h 4763"/>
                <a:gd name="T70" fmla="*/ 2147483647 w 1510"/>
                <a:gd name="T71" fmla="*/ 2147483647 h 4763"/>
                <a:gd name="T72" fmla="*/ 2147483647 w 1510"/>
                <a:gd name="T73" fmla="*/ 2147483647 h 4763"/>
                <a:gd name="T74" fmla="*/ 2147483647 w 1510"/>
                <a:gd name="T75" fmla="*/ 2147483647 h 4763"/>
                <a:gd name="T76" fmla="*/ 2147483647 w 1510"/>
                <a:gd name="T77" fmla="*/ 2147483647 h 4763"/>
                <a:gd name="T78" fmla="*/ 2147483647 w 1510"/>
                <a:gd name="T79" fmla="*/ 2147483647 h 4763"/>
                <a:gd name="T80" fmla="*/ 2147483647 w 1510"/>
                <a:gd name="T81" fmla="*/ 2147483647 h 4763"/>
                <a:gd name="T82" fmla="*/ 2147483647 w 1510"/>
                <a:gd name="T83" fmla="*/ 2147483647 h 4763"/>
                <a:gd name="T84" fmla="*/ 2147483647 w 1510"/>
                <a:gd name="T85" fmla="*/ 2147483647 h 4763"/>
                <a:gd name="T86" fmla="*/ 2147483647 w 1510"/>
                <a:gd name="T87" fmla="*/ 2147483647 h 4763"/>
                <a:gd name="T88" fmla="*/ 2147483647 w 1510"/>
                <a:gd name="T89" fmla="*/ 2147483647 h 4763"/>
                <a:gd name="T90" fmla="*/ 2147483647 w 1510"/>
                <a:gd name="T91" fmla="*/ 2147483647 h 4763"/>
                <a:gd name="T92" fmla="*/ 2147483647 w 1510"/>
                <a:gd name="T93" fmla="*/ 2147483647 h 4763"/>
                <a:gd name="T94" fmla="*/ 2147483647 w 1510"/>
                <a:gd name="T95" fmla="*/ 2147483647 h 4763"/>
                <a:gd name="T96" fmla="*/ 2147483647 w 1510"/>
                <a:gd name="T97" fmla="*/ 2147483647 h 4763"/>
                <a:gd name="T98" fmla="*/ 2147483647 w 1510"/>
                <a:gd name="T99" fmla="*/ 2147483647 h 4763"/>
                <a:gd name="T100" fmla="*/ 2147483647 w 1510"/>
                <a:gd name="T101" fmla="*/ 2147483647 h 4763"/>
                <a:gd name="T102" fmla="*/ 2147483647 w 1510"/>
                <a:gd name="T103" fmla="*/ 2147483647 h 4763"/>
                <a:gd name="T104" fmla="*/ 2147483647 w 1510"/>
                <a:gd name="T105" fmla="*/ 2147483647 h 4763"/>
                <a:gd name="T106" fmla="*/ 2147483647 w 1510"/>
                <a:gd name="T107" fmla="*/ 2147483647 h 4763"/>
                <a:gd name="T108" fmla="*/ 2147483647 w 1510"/>
                <a:gd name="T109" fmla="*/ 2147483647 h 4763"/>
                <a:gd name="T110" fmla="*/ 2147483647 w 1510"/>
                <a:gd name="T111" fmla="*/ 2147483647 h 4763"/>
                <a:gd name="T112" fmla="*/ 2147483647 w 1510"/>
                <a:gd name="T113" fmla="*/ 2147483647 h 4763"/>
                <a:gd name="T114" fmla="*/ 2147483647 w 1510"/>
                <a:gd name="T115" fmla="*/ 2147483647 h 4763"/>
                <a:gd name="T116" fmla="*/ 2147483647 w 1510"/>
                <a:gd name="T117" fmla="*/ 2147483647 h 4763"/>
                <a:gd name="T118" fmla="*/ 2147483647 w 1510"/>
                <a:gd name="T119" fmla="*/ 2147483647 h 4763"/>
                <a:gd name="T120" fmla="*/ 2147483647 w 1510"/>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10"/>
                <a:gd name="T184" fmla="*/ 0 h 4763"/>
                <a:gd name="T185" fmla="*/ 1510 w 1510"/>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10" h="4763">
                  <a:moveTo>
                    <a:pt x="544" y="802"/>
                  </a:moveTo>
                  <a:lnTo>
                    <a:pt x="749" y="1234"/>
                  </a:lnTo>
                  <a:lnTo>
                    <a:pt x="951" y="806"/>
                  </a:lnTo>
                  <a:lnTo>
                    <a:pt x="1157" y="841"/>
                  </a:lnTo>
                  <a:lnTo>
                    <a:pt x="1184" y="846"/>
                  </a:lnTo>
                  <a:lnTo>
                    <a:pt x="1212" y="852"/>
                  </a:lnTo>
                  <a:lnTo>
                    <a:pt x="1238" y="860"/>
                  </a:lnTo>
                  <a:lnTo>
                    <a:pt x="1264" y="870"/>
                  </a:lnTo>
                  <a:lnTo>
                    <a:pt x="1287" y="879"/>
                  </a:lnTo>
                  <a:lnTo>
                    <a:pt x="1311" y="892"/>
                  </a:lnTo>
                  <a:lnTo>
                    <a:pt x="1333" y="907"/>
                  </a:lnTo>
                  <a:lnTo>
                    <a:pt x="1353" y="922"/>
                  </a:lnTo>
                  <a:lnTo>
                    <a:pt x="1371" y="941"/>
                  </a:lnTo>
                  <a:lnTo>
                    <a:pt x="1388" y="960"/>
                  </a:lnTo>
                  <a:lnTo>
                    <a:pt x="1403" y="984"/>
                  </a:lnTo>
                  <a:lnTo>
                    <a:pt x="1414" y="1007"/>
                  </a:lnTo>
                  <a:lnTo>
                    <a:pt x="1423" y="1034"/>
                  </a:lnTo>
                  <a:lnTo>
                    <a:pt x="1432" y="1065"/>
                  </a:lnTo>
                  <a:lnTo>
                    <a:pt x="1436" y="1096"/>
                  </a:lnTo>
                  <a:lnTo>
                    <a:pt x="1437" y="1131"/>
                  </a:lnTo>
                  <a:lnTo>
                    <a:pt x="1437" y="2330"/>
                  </a:lnTo>
                  <a:lnTo>
                    <a:pt x="1301" y="2735"/>
                  </a:lnTo>
                  <a:lnTo>
                    <a:pt x="1510" y="3779"/>
                  </a:lnTo>
                  <a:lnTo>
                    <a:pt x="1157" y="3779"/>
                  </a:lnTo>
                  <a:lnTo>
                    <a:pt x="1021" y="4763"/>
                  </a:lnTo>
                  <a:lnTo>
                    <a:pt x="910" y="4763"/>
                  </a:lnTo>
                  <a:lnTo>
                    <a:pt x="1046" y="3779"/>
                  </a:lnTo>
                  <a:lnTo>
                    <a:pt x="787" y="3779"/>
                  </a:lnTo>
                  <a:lnTo>
                    <a:pt x="782" y="4763"/>
                  </a:lnTo>
                  <a:lnTo>
                    <a:pt x="727" y="4763"/>
                  </a:lnTo>
                  <a:lnTo>
                    <a:pt x="732" y="3779"/>
                  </a:lnTo>
                  <a:lnTo>
                    <a:pt x="464" y="3779"/>
                  </a:lnTo>
                  <a:lnTo>
                    <a:pt x="599" y="4763"/>
                  </a:lnTo>
                  <a:lnTo>
                    <a:pt x="488" y="4763"/>
                  </a:lnTo>
                  <a:lnTo>
                    <a:pt x="353" y="3779"/>
                  </a:lnTo>
                  <a:lnTo>
                    <a:pt x="0" y="3779"/>
                  </a:lnTo>
                  <a:lnTo>
                    <a:pt x="213" y="2737"/>
                  </a:lnTo>
                  <a:lnTo>
                    <a:pt x="73" y="2331"/>
                  </a:lnTo>
                  <a:lnTo>
                    <a:pt x="73" y="1131"/>
                  </a:lnTo>
                  <a:lnTo>
                    <a:pt x="74" y="1098"/>
                  </a:lnTo>
                  <a:lnTo>
                    <a:pt x="78" y="1066"/>
                  </a:lnTo>
                  <a:lnTo>
                    <a:pt x="84" y="1037"/>
                  </a:lnTo>
                  <a:lnTo>
                    <a:pt x="93" y="1011"/>
                  </a:lnTo>
                  <a:lnTo>
                    <a:pt x="104" y="988"/>
                  </a:lnTo>
                  <a:lnTo>
                    <a:pt x="118" y="966"/>
                  </a:lnTo>
                  <a:lnTo>
                    <a:pt x="133" y="947"/>
                  </a:lnTo>
                  <a:lnTo>
                    <a:pt x="151" y="929"/>
                  </a:lnTo>
                  <a:lnTo>
                    <a:pt x="170" y="912"/>
                  </a:lnTo>
                  <a:lnTo>
                    <a:pt x="191" y="898"/>
                  </a:lnTo>
                  <a:lnTo>
                    <a:pt x="213" y="886"/>
                  </a:lnTo>
                  <a:lnTo>
                    <a:pt x="236" y="875"/>
                  </a:lnTo>
                  <a:lnTo>
                    <a:pt x="260" y="866"/>
                  </a:lnTo>
                  <a:lnTo>
                    <a:pt x="284" y="857"/>
                  </a:lnTo>
                  <a:lnTo>
                    <a:pt x="311" y="850"/>
                  </a:lnTo>
                  <a:lnTo>
                    <a:pt x="337" y="845"/>
                  </a:lnTo>
                  <a:lnTo>
                    <a:pt x="544" y="802"/>
                  </a:lnTo>
                  <a:close/>
                  <a:moveTo>
                    <a:pt x="956" y="919"/>
                  </a:moveTo>
                  <a:lnTo>
                    <a:pt x="747" y="1360"/>
                  </a:lnTo>
                  <a:lnTo>
                    <a:pt x="536" y="915"/>
                  </a:lnTo>
                  <a:lnTo>
                    <a:pt x="365" y="945"/>
                  </a:lnTo>
                  <a:lnTo>
                    <a:pt x="348" y="949"/>
                  </a:lnTo>
                  <a:lnTo>
                    <a:pt x="330" y="953"/>
                  </a:lnTo>
                  <a:lnTo>
                    <a:pt x="312" y="959"/>
                  </a:lnTo>
                  <a:lnTo>
                    <a:pt x="295" y="966"/>
                  </a:lnTo>
                  <a:lnTo>
                    <a:pt x="279" y="973"/>
                  </a:lnTo>
                  <a:lnTo>
                    <a:pt x="264" y="981"/>
                  </a:lnTo>
                  <a:lnTo>
                    <a:pt x="250" y="991"/>
                  </a:lnTo>
                  <a:lnTo>
                    <a:pt x="236" y="1002"/>
                  </a:lnTo>
                  <a:lnTo>
                    <a:pt x="225" y="1012"/>
                  </a:lnTo>
                  <a:lnTo>
                    <a:pt x="214" y="1026"/>
                  </a:lnTo>
                  <a:lnTo>
                    <a:pt x="205" y="1040"/>
                  </a:lnTo>
                  <a:lnTo>
                    <a:pt x="196" y="1056"/>
                  </a:lnTo>
                  <a:lnTo>
                    <a:pt x="191" y="1073"/>
                  </a:lnTo>
                  <a:lnTo>
                    <a:pt x="185" y="1091"/>
                  </a:lnTo>
                  <a:lnTo>
                    <a:pt x="183" y="1110"/>
                  </a:lnTo>
                  <a:lnTo>
                    <a:pt x="183" y="1131"/>
                  </a:lnTo>
                  <a:lnTo>
                    <a:pt x="183" y="2253"/>
                  </a:lnTo>
                  <a:lnTo>
                    <a:pt x="361" y="2253"/>
                  </a:lnTo>
                  <a:lnTo>
                    <a:pt x="404" y="2069"/>
                  </a:lnTo>
                  <a:lnTo>
                    <a:pt x="404" y="1504"/>
                  </a:lnTo>
                  <a:lnTo>
                    <a:pt x="334" y="1184"/>
                  </a:lnTo>
                  <a:lnTo>
                    <a:pt x="387" y="1172"/>
                  </a:lnTo>
                  <a:lnTo>
                    <a:pt x="459" y="1499"/>
                  </a:lnTo>
                  <a:lnTo>
                    <a:pt x="459" y="2072"/>
                  </a:lnTo>
                  <a:lnTo>
                    <a:pt x="1050" y="2072"/>
                  </a:lnTo>
                  <a:lnTo>
                    <a:pt x="1050" y="1499"/>
                  </a:lnTo>
                  <a:lnTo>
                    <a:pt x="1123" y="1172"/>
                  </a:lnTo>
                  <a:lnTo>
                    <a:pt x="1176" y="1184"/>
                  </a:lnTo>
                  <a:lnTo>
                    <a:pt x="1105" y="1504"/>
                  </a:lnTo>
                  <a:lnTo>
                    <a:pt x="1105" y="2069"/>
                  </a:lnTo>
                  <a:lnTo>
                    <a:pt x="1147" y="2253"/>
                  </a:lnTo>
                  <a:lnTo>
                    <a:pt x="1327" y="2253"/>
                  </a:lnTo>
                  <a:lnTo>
                    <a:pt x="1327" y="1131"/>
                  </a:lnTo>
                  <a:lnTo>
                    <a:pt x="1326" y="1110"/>
                  </a:lnTo>
                  <a:lnTo>
                    <a:pt x="1323" y="1092"/>
                  </a:lnTo>
                  <a:lnTo>
                    <a:pt x="1319" y="1073"/>
                  </a:lnTo>
                  <a:lnTo>
                    <a:pt x="1314" y="1056"/>
                  </a:lnTo>
                  <a:lnTo>
                    <a:pt x="1305" y="1041"/>
                  </a:lnTo>
                  <a:lnTo>
                    <a:pt x="1297" y="1028"/>
                  </a:lnTo>
                  <a:lnTo>
                    <a:pt x="1286" y="1014"/>
                  </a:lnTo>
                  <a:lnTo>
                    <a:pt x="1275" y="1002"/>
                  </a:lnTo>
                  <a:lnTo>
                    <a:pt x="1263" y="992"/>
                  </a:lnTo>
                  <a:lnTo>
                    <a:pt x="1249" y="982"/>
                  </a:lnTo>
                  <a:lnTo>
                    <a:pt x="1234" y="973"/>
                  </a:lnTo>
                  <a:lnTo>
                    <a:pt x="1219" y="966"/>
                  </a:lnTo>
                  <a:lnTo>
                    <a:pt x="1202" y="959"/>
                  </a:lnTo>
                  <a:lnTo>
                    <a:pt x="1186" y="955"/>
                  </a:lnTo>
                  <a:lnTo>
                    <a:pt x="1169" y="951"/>
                  </a:lnTo>
                  <a:lnTo>
                    <a:pt x="1151" y="947"/>
                  </a:lnTo>
                  <a:lnTo>
                    <a:pt x="956" y="919"/>
                  </a:lnTo>
                  <a:close/>
                  <a:moveTo>
                    <a:pt x="349" y="2308"/>
                  </a:moveTo>
                  <a:lnTo>
                    <a:pt x="183" y="2308"/>
                  </a:lnTo>
                  <a:lnTo>
                    <a:pt x="183" y="2311"/>
                  </a:lnTo>
                  <a:lnTo>
                    <a:pt x="282" y="2595"/>
                  </a:lnTo>
                  <a:lnTo>
                    <a:pt x="349" y="2308"/>
                  </a:lnTo>
                  <a:close/>
                  <a:moveTo>
                    <a:pt x="1327" y="2308"/>
                  </a:moveTo>
                  <a:lnTo>
                    <a:pt x="1160" y="2308"/>
                  </a:lnTo>
                  <a:lnTo>
                    <a:pt x="1227" y="2607"/>
                  </a:lnTo>
                  <a:lnTo>
                    <a:pt x="1327" y="2311"/>
                  </a:lnTo>
                  <a:lnTo>
                    <a:pt x="1327" y="2308"/>
                  </a:lnTo>
                  <a:close/>
                  <a:moveTo>
                    <a:pt x="1085" y="372"/>
                  </a:moveTo>
                  <a:lnTo>
                    <a:pt x="1085" y="445"/>
                  </a:lnTo>
                  <a:lnTo>
                    <a:pt x="1084" y="473"/>
                  </a:lnTo>
                  <a:lnTo>
                    <a:pt x="1081" y="496"/>
                  </a:lnTo>
                  <a:lnTo>
                    <a:pt x="1079" y="506"/>
                  </a:lnTo>
                  <a:lnTo>
                    <a:pt x="1076" y="515"/>
                  </a:lnTo>
                  <a:lnTo>
                    <a:pt x="1072" y="522"/>
                  </a:lnTo>
                  <a:lnTo>
                    <a:pt x="1068" y="529"/>
                  </a:lnTo>
                  <a:lnTo>
                    <a:pt x="1063" y="534"/>
                  </a:lnTo>
                  <a:lnTo>
                    <a:pt x="1058" y="540"/>
                  </a:lnTo>
                  <a:lnTo>
                    <a:pt x="1052" y="544"/>
                  </a:lnTo>
                  <a:lnTo>
                    <a:pt x="1047" y="547"/>
                  </a:lnTo>
                  <a:lnTo>
                    <a:pt x="1033" y="551"/>
                  </a:lnTo>
                  <a:lnTo>
                    <a:pt x="1018" y="552"/>
                  </a:lnTo>
                  <a:lnTo>
                    <a:pt x="1010" y="577"/>
                  </a:lnTo>
                  <a:lnTo>
                    <a:pt x="1025" y="587"/>
                  </a:lnTo>
                  <a:lnTo>
                    <a:pt x="1041" y="596"/>
                  </a:lnTo>
                  <a:lnTo>
                    <a:pt x="1058" y="603"/>
                  </a:lnTo>
                  <a:lnTo>
                    <a:pt x="1074" y="609"/>
                  </a:lnTo>
                  <a:lnTo>
                    <a:pt x="1092" y="614"/>
                  </a:lnTo>
                  <a:lnTo>
                    <a:pt x="1112" y="617"/>
                  </a:lnTo>
                  <a:lnTo>
                    <a:pt x="1129" y="618"/>
                  </a:lnTo>
                  <a:lnTo>
                    <a:pt x="1149" y="617"/>
                  </a:lnTo>
                  <a:lnTo>
                    <a:pt x="1151" y="617"/>
                  </a:lnTo>
                  <a:lnTo>
                    <a:pt x="1149" y="631"/>
                  </a:lnTo>
                  <a:lnTo>
                    <a:pt x="1146" y="643"/>
                  </a:lnTo>
                  <a:lnTo>
                    <a:pt x="1140" y="654"/>
                  </a:lnTo>
                  <a:lnTo>
                    <a:pt x="1135" y="666"/>
                  </a:lnTo>
                  <a:lnTo>
                    <a:pt x="1128" y="677"/>
                  </a:lnTo>
                  <a:lnTo>
                    <a:pt x="1120" y="687"/>
                  </a:lnTo>
                  <a:lnTo>
                    <a:pt x="1112" y="697"/>
                  </a:lnTo>
                  <a:lnTo>
                    <a:pt x="1102" y="706"/>
                  </a:lnTo>
                  <a:lnTo>
                    <a:pt x="1091" y="714"/>
                  </a:lnTo>
                  <a:lnTo>
                    <a:pt x="1080" y="721"/>
                  </a:lnTo>
                  <a:lnTo>
                    <a:pt x="1068" y="728"/>
                  </a:lnTo>
                  <a:lnTo>
                    <a:pt x="1055" y="734"/>
                  </a:lnTo>
                  <a:lnTo>
                    <a:pt x="1041" y="739"/>
                  </a:lnTo>
                  <a:lnTo>
                    <a:pt x="1028" y="743"/>
                  </a:lnTo>
                  <a:lnTo>
                    <a:pt x="1014" y="746"/>
                  </a:lnTo>
                  <a:lnTo>
                    <a:pt x="999" y="747"/>
                  </a:lnTo>
                  <a:lnTo>
                    <a:pt x="984" y="747"/>
                  </a:lnTo>
                  <a:lnTo>
                    <a:pt x="970" y="747"/>
                  </a:lnTo>
                  <a:lnTo>
                    <a:pt x="958" y="746"/>
                  </a:lnTo>
                  <a:lnTo>
                    <a:pt x="944" y="743"/>
                  </a:lnTo>
                  <a:lnTo>
                    <a:pt x="930" y="740"/>
                  </a:lnTo>
                  <a:lnTo>
                    <a:pt x="918" y="736"/>
                  </a:lnTo>
                  <a:lnTo>
                    <a:pt x="905" y="732"/>
                  </a:lnTo>
                  <a:lnTo>
                    <a:pt x="893" y="727"/>
                  </a:lnTo>
                  <a:lnTo>
                    <a:pt x="878" y="736"/>
                  </a:lnTo>
                  <a:lnTo>
                    <a:pt x="861" y="743"/>
                  </a:lnTo>
                  <a:lnTo>
                    <a:pt x="846" y="750"/>
                  </a:lnTo>
                  <a:lnTo>
                    <a:pt x="829" y="757"/>
                  </a:lnTo>
                  <a:lnTo>
                    <a:pt x="812" y="761"/>
                  </a:lnTo>
                  <a:lnTo>
                    <a:pt x="794" y="764"/>
                  </a:lnTo>
                  <a:lnTo>
                    <a:pt x="776" y="767"/>
                  </a:lnTo>
                  <a:lnTo>
                    <a:pt x="757" y="767"/>
                  </a:lnTo>
                  <a:lnTo>
                    <a:pt x="738" y="767"/>
                  </a:lnTo>
                  <a:lnTo>
                    <a:pt x="719" y="764"/>
                  </a:lnTo>
                  <a:lnTo>
                    <a:pt x="699" y="760"/>
                  </a:lnTo>
                  <a:lnTo>
                    <a:pt x="681" y="756"/>
                  </a:lnTo>
                  <a:lnTo>
                    <a:pt x="664" y="749"/>
                  </a:lnTo>
                  <a:lnTo>
                    <a:pt x="646" y="740"/>
                  </a:lnTo>
                  <a:lnTo>
                    <a:pt x="629" y="732"/>
                  </a:lnTo>
                  <a:lnTo>
                    <a:pt x="614" y="721"/>
                  </a:lnTo>
                  <a:lnTo>
                    <a:pt x="600" y="728"/>
                  </a:lnTo>
                  <a:lnTo>
                    <a:pt x="587" y="734"/>
                  </a:lnTo>
                  <a:lnTo>
                    <a:pt x="573" y="739"/>
                  </a:lnTo>
                  <a:lnTo>
                    <a:pt x="559" y="742"/>
                  </a:lnTo>
                  <a:lnTo>
                    <a:pt x="544" y="745"/>
                  </a:lnTo>
                  <a:lnTo>
                    <a:pt x="529" y="747"/>
                  </a:lnTo>
                  <a:lnTo>
                    <a:pt x="514" y="747"/>
                  </a:lnTo>
                  <a:lnTo>
                    <a:pt x="499" y="747"/>
                  </a:lnTo>
                  <a:lnTo>
                    <a:pt x="484" y="746"/>
                  </a:lnTo>
                  <a:lnTo>
                    <a:pt x="469" y="743"/>
                  </a:lnTo>
                  <a:lnTo>
                    <a:pt x="455" y="739"/>
                  </a:lnTo>
                  <a:lnTo>
                    <a:pt x="441" y="734"/>
                  </a:lnTo>
                  <a:lnTo>
                    <a:pt x="429" y="728"/>
                  </a:lnTo>
                  <a:lnTo>
                    <a:pt x="416" y="721"/>
                  </a:lnTo>
                  <a:lnTo>
                    <a:pt x="405" y="714"/>
                  </a:lnTo>
                  <a:lnTo>
                    <a:pt x="394" y="706"/>
                  </a:lnTo>
                  <a:lnTo>
                    <a:pt x="385" y="697"/>
                  </a:lnTo>
                  <a:lnTo>
                    <a:pt x="376" y="687"/>
                  </a:lnTo>
                  <a:lnTo>
                    <a:pt x="368" y="677"/>
                  </a:lnTo>
                  <a:lnTo>
                    <a:pt x="361" y="666"/>
                  </a:lnTo>
                  <a:lnTo>
                    <a:pt x="356" y="654"/>
                  </a:lnTo>
                  <a:lnTo>
                    <a:pt x="352" y="643"/>
                  </a:lnTo>
                  <a:lnTo>
                    <a:pt x="348" y="631"/>
                  </a:lnTo>
                  <a:lnTo>
                    <a:pt x="345" y="617"/>
                  </a:lnTo>
                  <a:lnTo>
                    <a:pt x="348" y="617"/>
                  </a:lnTo>
                  <a:lnTo>
                    <a:pt x="370" y="618"/>
                  </a:lnTo>
                  <a:lnTo>
                    <a:pt x="390" y="615"/>
                  </a:lnTo>
                  <a:lnTo>
                    <a:pt x="411" y="613"/>
                  </a:lnTo>
                  <a:lnTo>
                    <a:pt x="430" y="606"/>
                  </a:lnTo>
                  <a:lnTo>
                    <a:pt x="449" y="599"/>
                  </a:lnTo>
                  <a:lnTo>
                    <a:pt x="469" y="589"/>
                  </a:lnTo>
                  <a:lnTo>
                    <a:pt x="485" y="578"/>
                  </a:lnTo>
                  <a:lnTo>
                    <a:pt x="500" y="566"/>
                  </a:lnTo>
                  <a:lnTo>
                    <a:pt x="496" y="552"/>
                  </a:lnTo>
                  <a:lnTo>
                    <a:pt x="478" y="552"/>
                  </a:lnTo>
                  <a:lnTo>
                    <a:pt x="469" y="552"/>
                  </a:lnTo>
                  <a:lnTo>
                    <a:pt x="462" y="551"/>
                  </a:lnTo>
                  <a:lnTo>
                    <a:pt x="453" y="548"/>
                  </a:lnTo>
                  <a:lnTo>
                    <a:pt x="447" y="544"/>
                  </a:lnTo>
                  <a:lnTo>
                    <a:pt x="440" y="540"/>
                  </a:lnTo>
                  <a:lnTo>
                    <a:pt x="434" y="534"/>
                  </a:lnTo>
                  <a:lnTo>
                    <a:pt x="430" y="529"/>
                  </a:lnTo>
                  <a:lnTo>
                    <a:pt x="425" y="521"/>
                  </a:lnTo>
                  <a:lnTo>
                    <a:pt x="422" y="511"/>
                  </a:lnTo>
                  <a:lnTo>
                    <a:pt x="418" y="501"/>
                  </a:lnTo>
                  <a:lnTo>
                    <a:pt x="416" y="489"/>
                  </a:lnTo>
                  <a:lnTo>
                    <a:pt x="414" y="477"/>
                  </a:lnTo>
                  <a:lnTo>
                    <a:pt x="412" y="445"/>
                  </a:lnTo>
                  <a:lnTo>
                    <a:pt x="412" y="372"/>
                  </a:lnTo>
                  <a:lnTo>
                    <a:pt x="412" y="353"/>
                  </a:lnTo>
                  <a:lnTo>
                    <a:pt x="414" y="335"/>
                  </a:lnTo>
                  <a:lnTo>
                    <a:pt x="419" y="299"/>
                  </a:lnTo>
                  <a:lnTo>
                    <a:pt x="427" y="264"/>
                  </a:lnTo>
                  <a:lnTo>
                    <a:pt x="438" y="231"/>
                  </a:lnTo>
                  <a:lnTo>
                    <a:pt x="452" y="198"/>
                  </a:lnTo>
                  <a:lnTo>
                    <a:pt x="469" y="168"/>
                  </a:lnTo>
                  <a:lnTo>
                    <a:pt x="486" y="139"/>
                  </a:lnTo>
                  <a:lnTo>
                    <a:pt x="508" y="113"/>
                  </a:lnTo>
                  <a:lnTo>
                    <a:pt x="532" y="88"/>
                  </a:lnTo>
                  <a:lnTo>
                    <a:pt x="544" y="77"/>
                  </a:lnTo>
                  <a:lnTo>
                    <a:pt x="558" y="66"/>
                  </a:lnTo>
                  <a:lnTo>
                    <a:pt x="572" y="56"/>
                  </a:lnTo>
                  <a:lnTo>
                    <a:pt x="585" y="47"/>
                  </a:lnTo>
                  <a:lnTo>
                    <a:pt x="600" y="38"/>
                  </a:lnTo>
                  <a:lnTo>
                    <a:pt x="616" y="30"/>
                  </a:lnTo>
                  <a:lnTo>
                    <a:pt x="631" y="23"/>
                  </a:lnTo>
                  <a:lnTo>
                    <a:pt x="646" y="18"/>
                  </a:lnTo>
                  <a:lnTo>
                    <a:pt x="662" y="12"/>
                  </a:lnTo>
                  <a:lnTo>
                    <a:pt x="679" y="8"/>
                  </a:lnTo>
                  <a:lnTo>
                    <a:pt x="697" y="5"/>
                  </a:lnTo>
                  <a:lnTo>
                    <a:pt x="713" y="3"/>
                  </a:lnTo>
                  <a:lnTo>
                    <a:pt x="731" y="1"/>
                  </a:lnTo>
                  <a:lnTo>
                    <a:pt x="749" y="0"/>
                  </a:lnTo>
                  <a:lnTo>
                    <a:pt x="767" y="1"/>
                  </a:lnTo>
                  <a:lnTo>
                    <a:pt x="785" y="3"/>
                  </a:lnTo>
                  <a:lnTo>
                    <a:pt x="801" y="5"/>
                  </a:lnTo>
                  <a:lnTo>
                    <a:pt x="819" y="8"/>
                  </a:lnTo>
                  <a:lnTo>
                    <a:pt x="835" y="12"/>
                  </a:lnTo>
                  <a:lnTo>
                    <a:pt x="852" y="18"/>
                  </a:lnTo>
                  <a:lnTo>
                    <a:pt x="867" y="23"/>
                  </a:lnTo>
                  <a:lnTo>
                    <a:pt x="882" y="30"/>
                  </a:lnTo>
                  <a:lnTo>
                    <a:pt x="897" y="38"/>
                  </a:lnTo>
                  <a:lnTo>
                    <a:pt x="912" y="47"/>
                  </a:lnTo>
                  <a:lnTo>
                    <a:pt x="926" y="56"/>
                  </a:lnTo>
                  <a:lnTo>
                    <a:pt x="940" y="66"/>
                  </a:lnTo>
                  <a:lnTo>
                    <a:pt x="954" y="77"/>
                  </a:lnTo>
                  <a:lnTo>
                    <a:pt x="966" y="88"/>
                  </a:lnTo>
                  <a:lnTo>
                    <a:pt x="989" y="113"/>
                  </a:lnTo>
                  <a:lnTo>
                    <a:pt x="1011" y="139"/>
                  </a:lnTo>
                  <a:lnTo>
                    <a:pt x="1029" y="168"/>
                  </a:lnTo>
                  <a:lnTo>
                    <a:pt x="1046" y="198"/>
                  </a:lnTo>
                  <a:lnTo>
                    <a:pt x="1059" y="231"/>
                  </a:lnTo>
                  <a:lnTo>
                    <a:pt x="1070" y="264"/>
                  </a:lnTo>
                  <a:lnTo>
                    <a:pt x="1079" y="299"/>
                  </a:lnTo>
                  <a:lnTo>
                    <a:pt x="1084" y="335"/>
                  </a:lnTo>
                  <a:lnTo>
                    <a:pt x="1085" y="353"/>
                  </a:lnTo>
                  <a:lnTo>
                    <a:pt x="1085" y="372"/>
                  </a:lnTo>
                  <a:close/>
                  <a:moveTo>
                    <a:pt x="911" y="199"/>
                  </a:moveTo>
                  <a:lnTo>
                    <a:pt x="911" y="199"/>
                  </a:lnTo>
                  <a:lnTo>
                    <a:pt x="925" y="217"/>
                  </a:lnTo>
                  <a:lnTo>
                    <a:pt x="938" y="236"/>
                  </a:lnTo>
                  <a:lnTo>
                    <a:pt x="948" y="257"/>
                  </a:lnTo>
                  <a:lnTo>
                    <a:pt x="958" y="278"/>
                  </a:lnTo>
                  <a:lnTo>
                    <a:pt x="966" y="301"/>
                  </a:lnTo>
                  <a:lnTo>
                    <a:pt x="971" y="326"/>
                  </a:lnTo>
                  <a:lnTo>
                    <a:pt x="974" y="350"/>
                  </a:lnTo>
                  <a:lnTo>
                    <a:pt x="976" y="376"/>
                  </a:lnTo>
                  <a:lnTo>
                    <a:pt x="976" y="463"/>
                  </a:lnTo>
                  <a:lnTo>
                    <a:pt x="974" y="489"/>
                  </a:lnTo>
                  <a:lnTo>
                    <a:pt x="970" y="514"/>
                  </a:lnTo>
                  <a:lnTo>
                    <a:pt x="965" y="539"/>
                  </a:lnTo>
                  <a:lnTo>
                    <a:pt x="958" y="561"/>
                  </a:lnTo>
                  <a:lnTo>
                    <a:pt x="948" y="582"/>
                  </a:lnTo>
                  <a:lnTo>
                    <a:pt x="937" y="603"/>
                  </a:lnTo>
                  <a:lnTo>
                    <a:pt x="925" y="622"/>
                  </a:lnTo>
                  <a:lnTo>
                    <a:pt x="911" y="640"/>
                  </a:lnTo>
                  <a:lnTo>
                    <a:pt x="894" y="657"/>
                  </a:lnTo>
                  <a:lnTo>
                    <a:pt x="878" y="670"/>
                  </a:lnTo>
                  <a:lnTo>
                    <a:pt x="860" y="683"/>
                  </a:lnTo>
                  <a:lnTo>
                    <a:pt x="841" y="692"/>
                  </a:lnTo>
                  <a:lnTo>
                    <a:pt x="822" y="701"/>
                  </a:lnTo>
                  <a:lnTo>
                    <a:pt x="801" y="708"/>
                  </a:lnTo>
                  <a:lnTo>
                    <a:pt x="779" y="710"/>
                  </a:lnTo>
                  <a:lnTo>
                    <a:pt x="757" y="712"/>
                  </a:lnTo>
                  <a:lnTo>
                    <a:pt x="735" y="710"/>
                  </a:lnTo>
                  <a:lnTo>
                    <a:pt x="714" y="708"/>
                  </a:lnTo>
                  <a:lnTo>
                    <a:pt x="694" y="701"/>
                  </a:lnTo>
                  <a:lnTo>
                    <a:pt x="673" y="692"/>
                  </a:lnTo>
                  <a:lnTo>
                    <a:pt x="655" y="683"/>
                  </a:lnTo>
                  <a:lnTo>
                    <a:pt x="636" y="670"/>
                  </a:lnTo>
                  <a:lnTo>
                    <a:pt x="620" y="657"/>
                  </a:lnTo>
                  <a:lnTo>
                    <a:pt x="605" y="640"/>
                  </a:lnTo>
                  <a:lnTo>
                    <a:pt x="591" y="622"/>
                  </a:lnTo>
                  <a:lnTo>
                    <a:pt x="577" y="603"/>
                  </a:lnTo>
                  <a:lnTo>
                    <a:pt x="566" y="582"/>
                  </a:lnTo>
                  <a:lnTo>
                    <a:pt x="556" y="561"/>
                  </a:lnTo>
                  <a:lnTo>
                    <a:pt x="550" y="539"/>
                  </a:lnTo>
                  <a:lnTo>
                    <a:pt x="544" y="514"/>
                  </a:lnTo>
                  <a:lnTo>
                    <a:pt x="540" y="489"/>
                  </a:lnTo>
                  <a:lnTo>
                    <a:pt x="540" y="463"/>
                  </a:lnTo>
                  <a:lnTo>
                    <a:pt x="540" y="434"/>
                  </a:lnTo>
                  <a:lnTo>
                    <a:pt x="569" y="438"/>
                  </a:lnTo>
                  <a:lnTo>
                    <a:pt x="599" y="440"/>
                  </a:lnTo>
                  <a:lnTo>
                    <a:pt x="627" y="438"/>
                  </a:lnTo>
                  <a:lnTo>
                    <a:pt x="654" y="434"/>
                  </a:lnTo>
                  <a:lnTo>
                    <a:pt x="680" y="429"/>
                  </a:lnTo>
                  <a:lnTo>
                    <a:pt x="705" y="422"/>
                  </a:lnTo>
                  <a:lnTo>
                    <a:pt x="730" y="412"/>
                  </a:lnTo>
                  <a:lnTo>
                    <a:pt x="753" y="400"/>
                  </a:lnTo>
                  <a:lnTo>
                    <a:pt x="776" y="386"/>
                  </a:lnTo>
                  <a:lnTo>
                    <a:pt x="797" y="371"/>
                  </a:lnTo>
                  <a:lnTo>
                    <a:pt x="818" y="354"/>
                  </a:lnTo>
                  <a:lnTo>
                    <a:pt x="835" y="337"/>
                  </a:lnTo>
                  <a:lnTo>
                    <a:pt x="852" y="316"/>
                  </a:lnTo>
                  <a:lnTo>
                    <a:pt x="868" y="295"/>
                  </a:lnTo>
                  <a:lnTo>
                    <a:pt x="882" y="273"/>
                  </a:lnTo>
                  <a:lnTo>
                    <a:pt x="893" y="250"/>
                  </a:lnTo>
                  <a:lnTo>
                    <a:pt x="903" y="225"/>
                  </a:lnTo>
                  <a:lnTo>
                    <a:pt x="911" y="199"/>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646464"/>
                </a:solidFill>
              </a:endParaRPr>
            </a:p>
          </p:txBody>
        </p:sp>
        <p:sp>
          <p:nvSpPr>
            <p:cNvPr id="35" name="Freeform 108"/>
            <p:cNvSpPr>
              <a:spLocks noChangeAspect="1" noEditPoints="1"/>
            </p:cNvSpPr>
            <p:nvPr/>
          </p:nvSpPr>
          <p:spPr bwMode="auto">
            <a:xfrm>
              <a:off x="6287830" y="5337664"/>
              <a:ext cx="128183" cy="359148"/>
            </a:xfrm>
            <a:custGeom>
              <a:avLst/>
              <a:gdLst>
                <a:gd name="T0" fmla="*/ 2147483647 w 1700"/>
                <a:gd name="T1" fmla="*/ 2147483647 h 4763"/>
                <a:gd name="T2" fmla="*/ 2147483647 w 1700"/>
                <a:gd name="T3" fmla="*/ 2147483647 h 4763"/>
                <a:gd name="T4" fmla="*/ 2147483647 w 1700"/>
                <a:gd name="T5" fmla="*/ 2147483647 h 4763"/>
                <a:gd name="T6" fmla="*/ 2147483647 w 1700"/>
                <a:gd name="T7" fmla="*/ 2147483647 h 4763"/>
                <a:gd name="T8" fmla="*/ 2147483647 w 1700"/>
                <a:gd name="T9" fmla="*/ 2147483647 h 4763"/>
                <a:gd name="T10" fmla="*/ 2147483647 w 1700"/>
                <a:gd name="T11" fmla="*/ 2147483647 h 4763"/>
                <a:gd name="T12" fmla="*/ 2147483647 w 1700"/>
                <a:gd name="T13" fmla="*/ 2147483647 h 4763"/>
                <a:gd name="T14" fmla="*/ 2147483647 w 1700"/>
                <a:gd name="T15" fmla="*/ 2147483647 h 4763"/>
                <a:gd name="T16" fmla="*/ 2147483647 w 1700"/>
                <a:gd name="T17" fmla="*/ 2147483647 h 4763"/>
                <a:gd name="T18" fmla="*/ 2147483647 w 1700"/>
                <a:gd name="T19" fmla="*/ 2147483647 h 4763"/>
                <a:gd name="T20" fmla="*/ 2147483647 w 1700"/>
                <a:gd name="T21" fmla="*/ 2147483647 h 4763"/>
                <a:gd name="T22" fmla="*/ 2147483647 w 1700"/>
                <a:gd name="T23" fmla="*/ 2147483647 h 4763"/>
                <a:gd name="T24" fmla="*/ 2147483647 w 1700"/>
                <a:gd name="T25" fmla="*/ 2147483647 h 4763"/>
                <a:gd name="T26" fmla="*/ 2147483647 w 1700"/>
                <a:gd name="T27" fmla="*/ 2147483647 h 4763"/>
                <a:gd name="T28" fmla="*/ 2147483647 w 1700"/>
                <a:gd name="T29" fmla="*/ 2147483647 h 4763"/>
                <a:gd name="T30" fmla="*/ 2147483647 w 1700"/>
                <a:gd name="T31" fmla="*/ 2147483647 h 4763"/>
                <a:gd name="T32" fmla="*/ 2147483647 w 1700"/>
                <a:gd name="T33" fmla="*/ 2147483647 h 4763"/>
                <a:gd name="T34" fmla="*/ 2147483647 w 1700"/>
                <a:gd name="T35" fmla="*/ 2147483647 h 4763"/>
                <a:gd name="T36" fmla="*/ 2147483647 w 1700"/>
                <a:gd name="T37" fmla="*/ 2147483647 h 4763"/>
                <a:gd name="T38" fmla="*/ 2147483647 w 1700"/>
                <a:gd name="T39" fmla="*/ 2147483647 h 4763"/>
                <a:gd name="T40" fmla="*/ 2147483647 w 1700"/>
                <a:gd name="T41" fmla="*/ 0 h 4763"/>
                <a:gd name="T42" fmla="*/ 2147483647 w 1700"/>
                <a:gd name="T43" fmla="*/ 2147483647 h 4763"/>
                <a:gd name="T44" fmla="*/ 2147483647 w 1700"/>
                <a:gd name="T45" fmla="*/ 2147483647 h 4763"/>
                <a:gd name="T46" fmla="*/ 2147483647 w 1700"/>
                <a:gd name="T47" fmla="*/ 2147483647 h 4763"/>
                <a:gd name="T48" fmla="*/ 2147483647 w 1700"/>
                <a:gd name="T49" fmla="*/ 2147483647 h 4763"/>
                <a:gd name="T50" fmla="*/ 2147483647 w 1700"/>
                <a:gd name="T51" fmla="*/ 2147483647 h 4763"/>
                <a:gd name="T52" fmla="*/ 2147483647 w 1700"/>
                <a:gd name="T53" fmla="*/ 2147483647 h 4763"/>
                <a:gd name="T54" fmla="*/ 2147483647 w 1700"/>
                <a:gd name="T55" fmla="*/ 2147483647 h 4763"/>
                <a:gd name="T56" fmla="*/ 2147483647 w 1700"/>
                <a:gd name="T57" fmla="*/ 2147483647 h 4763"/>
                <a:gd name="T58" fmla="*/ 2147483647 w 1700"/>
                <a:gd name="T59" fmla="*/ 2147483647 h 4763"/>
                <a:gd name="T60" fmla="*/ 2147483647 w 1700"/>
                <a:gd name="T61" fmla="*/ 2147483647 h 4763"/>
                <a:gd name="T62" fmla="*/ 2147483647 w 1700"/>
                <a:gd name="T63" fmla="*/ 2147483647 h 4763"/>
                <a:gd name="T64" fmla="*/ 2147483647 w 1700"/>
                <a:gd name="T65" fmla="*/ 2147483647 h 4763"/>
                <a:gd name="T66" fmla="*/ 2147483647 w 1700"/>
                <a:gd name="T67" fmla="*/ 2147483647 h 4763"/>
                <a:gd name="T68" fmla="*/ 2147483647 w 1700"/>
                <a:gd name="T69" fmla="*/ 2147483647 h 4763"/>
                <a:gd name="T70" fmla="*/ 2147483647 w 1700"/>
                <a:gd name="T71" fmla="*/ 2147483647 h 4763"/>
                <a:gd name="T72" fmla="*/ 2147483647 w 1700"/>
                <a:gd name="T73" fmla="*/ 2147483647 h 4763"/>
                <a:gd name="T74" fmla="*/ 2147483647 w 1700"/>
                <a:gd name="T75" fmla="*/ 2147483647 h 4763"/>
                <a:gd name="T76" fmla="*/ 2147483647 w 1700"/>
                <a:gd name="T77" fmla="*/ 2147483647 h 4763"/>
                <a:gd name="T78" fmla="*/ 2147483647 w 1700"/>
                <a:gd name="T79" fmla="*/ 2147483647 h 4763"/>
                <a:gd name="T80" fmla="*/ 2147483647 w 1700"/>
                <a:gd name="T81" fmla="*/ 2147483647 h 4763"/>
                <a:gd name="T82" fmla="*/ 2147483647 w 1700"/>
                <a:gd name="T83" fmla="*/ 2147483647 h 4763"/>
                <a:gd name="T84" fmla="*/ 2147483647 w 1700"/>
                <a:gd name="T85" fmla="*/ 2147483647 h 4763"/>
                <a:gd name="T86" fmla="*/ 2147483647 w 1700"/>
                <a:gd name="T87" fmla="*/ 2147483647 h 4763"/>
                <a:gd name="T88" fmla="*/ 2147483647 w 1700"/>
                <a:gd name="T89" fmla="*/ 2147483647 h 4763"/>
                <a:gd name="T90" fmla="*/ 0 w 1700"/>
                <a:gd name="T91" fmla="*/ 2147483647 h 4763"/>
                <a:gd name="T92" fmla="*/ 2147483647 w 1700"/>
                <a:gd name="T93" fmla="*/ 2147483647 h 4763"/>
                <a:gd name="T94" fmla="*/ 2147483647 w 1700"/>
                <a:gd name="T95" fmla="*/ 2147483647 h 4763"/>
                <a:gd name="T96" fmla="*/ 2147483647 w 1700"/>
                <a:gd name="T97" fmla="*/ 2147483647 h 4763"/>
                <a:gd name="T98" fmla="*/ 2147483647 w 1700"/>
                <a:gd name="T99" fmla="*/ 2147483647 h 4763"/>
                <a:gd name="T100" fmla="*/ 2147483647 w 1700"/>
                <a:gd name="T101" fmla="*/ 2147483647 h 4763"/>
                <a:gd name="T102" fmla="*/ 2147483647 w 1700"/>
                <a:gd name="T103" fmla="*/ 2147483647 h 4763"/>
                <a:gd name="T104" fmla="*/ 2147483647 w 1700"/>
                <a:gd name="T105" fmla="*/ 2147483647 h 4763"/>
                <a:gd name="T106" fmla="*/ 2147483647 w 1700"/>
                <a:gd name="T107" fmla="*/ 2147483647 h 4763"/>
                <a:gd name="T108" fmla="*/ 2147483647 w 1700"/>
                <a:gd name="T109" fmla="*/ 2147483647 h 4763"/>
                <a:gd name="T110" fmla="*/ 2147483647 w 1700"/>
                <a:gd name="T111" fmla="*/ 2147483647 h 4763"/>
                <a:gd name="T112" fmla="*/ 2147483647 w 1700"/>
                <a:gd name="T113" fmla="*/ 2147483647 h 4763"/>
                <a:gd name="T114" fmla="*/ 2147483647 w 1700"/>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00"/>
                <a:gd name="T175" fmla="*/ 0 h 4763"/>
                <a:gd name="T176" fmla="*/ 1700 w 1700"/>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00" h="4763">
                  <a:moveTo>
                    <a:pt x="638" y="216"/>
                  </a:moveTo>
                  <a:lnTo>
                    <a:pt x="638" y="216"/>
                  </a:lnTo>
                  <a:lnTo>
                    <a:pt x="634" y="235"/>
                  </a:lnTo>
                  <a:lnTo>
                    <a:pt x="630" y="255"/>
                  </a:lnTo>
                  <a:lnTo>
                    <a:pt x="628" y="276"/>
                  </a:lnTo>
                  <a:lnTo>
                    <a:pt x="628" y="297"/>
                  </a:lnTo>
                  <a:lnTo>
                    <a:pt x="628" y="368"/>
                  </a:lnTo>
                  <a:lnTo>
                    <a:pt x="628" y="393"/>
                  </a:lnTo>
                  <a:lnTo>
                    <a:pt x="632" y="418"/>
                  </a:lnTo>
                  <a:lnTo>
                    <a:pt x="637" y="442"/>
                  </a:lnTo>
                  <a:lnTo>
                    <a:pt x="645" y="465"/>
                  </a:lnTo>
                  <a:lnTo>
                    <a:pt x="653" y="486"/>
                  </a:lnTo>
                  <a:lnTo>
                    <a:pt x="665" y="506"/>
                  </a:lnTo>
                  <a:lnTo>
                    <a:pt x="677" y="525"/>
                  </a:lnTo>
                  <a:lnTo>
                    <a:pt x="691" y="542"/>
                  </a:lnTo>
                  <a:lnTo>
                    <a:pt x="706" y="558"/>
                  </a:lnTo>
                  <a:lnTo>
                    <a:pt x="723" y="571"/>
                  </a:lnTo>
                  <a:lnTo>
                    <a:pt x="741" y="583"/>
                  </a:lnTo>
                  <a:lnTo>
                    <a:pt x="759" y="594"/>
                  </a:lnTo>
                  <a:lnTo>
                    <a:pt x="778" y="602"/>
                  </a:lnTo>
                  <a:lnTo>
                    <a:pt x="799" y="607"/>
                  </a:lnTo>
                  <a:lnTo>
                    <a:pt x="819" y="611"/>
                  </a:lnTo>
                  <a:lnTo>
                    <a:pt x="841" y="612"/>
                  </a:lnTo>
                  <a:lnTo>
                    <a:pt x="863" y="611"/>
                  </a:lnTo>
                  <a:lnTo>
                    <a:pt x="883" y="607"/>
                  </a:lnTo>
                  <a:lnTo>
                    <a:pt x="904" y="602"/>
                  </a:lnTo>
                  <a:lnTo>
                    <a:pt x="922" y="594"/>
                  </a:lnTo>
                  <a:lnTo>
                    <a:pt x="941" y="583"/>
                  </a:lnTo>
                  <a:lnTo>
                    <a:pt x="959" y="571"/>
                  </a:lnTo>
                  <a:lnTo>
                    <a:pt x="975" y="558"/>
                  </a:lnTo>
                  <a:lnTo>
                    <a:pt x="990" y="542"/>
                  </a:lnTo>
                  <a:lnTo>
                    <a:pt x="1005" y="525"/>
                  </a:lnTo>
                  <a:lnTo>
                    <a:pt x="1017" y="506"/>
                  </a:lnTo>
                  <a:lnTo>
                    <a:pt x="1028" y="486"/>
                  </a:lnTo>
                  <a:lnTo>
                    <a:pt x="1036" y="465"/>
                  </a:lnTo>
                  <a:lnTo>
                    <a:pt x="1044" y="442"/>
                  </a:lnTo>
                  <a:lnTo>
                    <a:pt x="1050" y="418"/>
                  </a:lnTo>
                  <a:lnTo>
                    <a:pt x="1054" y="393"/>
                  </a:lnTo>
                  <a:lnTo>
                    <a:pt x="1054" y="368"/>
                  </a:lnTo>
                  <a:lnTo>
                    <a:pt x="1054" y="297"/>
                  </a:lnTo>
                  <a:lnTo>
                    <a:pt x="1054" y="274"/>
                  </a:lnTo>
                  <a:lnTo>
                    <a:pt x="1051" y="251"/>
                  </a:lnTo>
                  <a:lnTo>
                    <a:pt x="1046" y="230"/>
                  </a:lnTo>
                  <a:lnTo>
                    <a:pt x="1040" y="208"/>
                  </a:lnTo>
                  <a:lnTo>
                    <a:pt x="1032" y="198"/>
                  </a:lnTo>
                  <a:lnTo>
                    <a:pt x="1025" y="189"/>
                  </a:lnTo>
                  <a:lnTo>
                    <a:pt x="1017" y="179"/>
                  </a:lnTo>
                  <a:lnTo>
                    <a:pt x="1007" y="171"/>
                  </a:lnTo>
                  <a:lnTo>
                    <a:pt x="997" y="163"/>
                  </a:lnTo>
                  <a:lnTo>
                    <a:pt x="986" y="157"/>
                  </a:lnTo>
                  <a:lnTo>
                    <a:pt x="963" y="145"/>
                  </a:lnTo>
                  <a:lnTo>
                    <a:pt x="952" y="158"/>
                  </a:lnTo>
                  <a:lnTo>
                    <a:pt x="938" y="170"/>
                  </a:lnTo>
                  <a:lnTo>
                    <a:pt x="924" y="181"/>
                  </a:lnTo>
                  <a:lnTo>
                    <a:pt x="908" y="190"/>
                  </a:lnTo>
                  <a:lnTo>
                    <a:pt x="892" y="197"/>
                  </a:lnTo>
                  <a:lnTo>
                    <a:pt x="873" y="202"/>
                  </a:lnTo>
                  <a:lnTo>
                    <a:pt x="855" y="206"/>
                  </a:lnTo>
                  <a:lnTo>
                    <a:pt x="836" y="207"/>
                  </a:lnTo>
                  <a:lnTo>
                    <a:pt x="817" y="206"/>
                  </a:lnTo>
                  <a:lnTo>
                    <a:pt x="800" y="203"/>
                  </a:lnTo>
                  <a:lnTo>
                    <a:pt x="783" y="198"/>
                  </a:lnTo>
                  <a:lnTo>
                    <a:pt x="767" y="191"/>
                  </a:lnTo>
                  <a:lnTo>
                    <a:pt x="751" y="183"/>
                  </a:lnTo>
                  <a:lnTo>
                    <a:pt x="737" y="173"/>
                  </a:lnTo>
                  <a:lnTo>
                    <a:pt x="725" y="162"/>
                  </a:lnTo>
                  <a:lnTo>
                    <a:pt x="713" y="149"/>
                  </a:lnTo>
                  <a:lnTo>
                    <a:pt x="690" y="162"/>
                  </a:lnTo>
                  <a:lnTo>
                    <a:pt x="679" y="169"/>
                  </a:lnTo>
                  <a:lnTo>
                    <a:pt x="670" y="178"/>
                  </a:lnTo>
                  <a:lnTo>
                    <a:pt x="661" y="186"/>
                  </a:lnTo>
                  <a:lnTo>
                    <a:pt x="653" y="195"/>
                  </a:lnTo>
                  <a:lnTo>
                    <a:pt x="645" y="206"/>
                  </a:lnTo>
                  <a:lnTo>
                    <a:pt x="638" y="216"/>
                  </a:lnTo>
                  <a:close/>
                  <a:moveTo>
                    <a:pt x="841" y="0"/>
                  </a:moveTo>
                  <a:lnTo>
                    <a:pt x="841" y="0"/>
                  </a:lnTo>
                  <a:lnTo>
                    <a:pt x="868" y="1"/>
                  </a:lnTo>
                  <a:lnTo>
                    <a:pt x="896" y="5"/>
                  </a:lnTo>
                  <a:lnTo>
                    <a:pt x="921" y="13"/>
                  </a:lnTo>
                  <a:lnTo>
                    <a:pt x="946" y="24"/>
                  </a:lnTo>
                  <a:lnTo>
                    <a:pt x="969" y="36"/>
                  </a:lnTo>
                  <a:lnTo>
                    <a:pt x="991" y="50"/>
                  </a:lnTo>
                  <a:lnTo>
                    <a:pt x="1011" y="68"/>
                  </a:lnTo>
                  <a:lnTo>
                    <a:pt x="1031" y="88"/>
                  </a:lnTo>
                  <a:lnTo>
                    <a:pt x="1047" y="109"/>
                  </a:lnTo>
                  <a:lnTo>
                    <a:pt x="1063" y="131"/>
                  </a:lnTo>
                  <a:lnTo>
                    <a:pt x="1076" y="157"/>
                  </a:lnTo>
                  <a:lnTo>
                    <a:pt x="1087" y="182"/>
                  </a:lnTo>
                  <a:lnTo>
                    <a:pt x="1096" y="210"/>
                  </a:lnTo>
                  <a:lnTo>
                    <a:pt x="1103" y="238"/>
                  </a:lnTo>
                  <a:lnTo>
                    <a:pt x="1107" y="267"/>
                  </a:lnTo>
                  <a:lnTo>
                    <a:pt x="1107" y="296"/>
                  </a:lnTo>
                  <a:lnTo>
                    <a:pt x="1108" y="340"/>
                  </a:lnTo>
                  <a:lnTo>
                    <a:pt x="1108" y="369"/>
                  </a:lnTo>
                  <a:lnTo>
                    <a:pt x="1108" y="380"/>
                  </a:lnTo>
                  <a:lnTo>
                    <a:pt x="1107" y="385"/>
                  </a:lnTo>
                  <a:lnTo>
                    <a:pt x="1105" y="413"/>
                  </a:lnTo>
                  <a:lnTo>
                    <a:pt x="1101" y="441"/>
                  </a:lnTo>
                  <a:lnTo>
                    <a:pt x="1095" y="467"/>
                  </a:lnTo>
                  <a:lnTo>
                    <a:pt x="1086" y="494"/>
                  </a:lnTo>
                  <a:lnTo>
                    <a:pt x="1074" y="518"/>
                  </a:lnTo>
                  <a:lnTo>
                    <a:pt x="1060" y="542"/>
                  </a:lnTo>
                  <a:lnTo>
                    <a:pt x="1044" y="563"/>
                  </a:lnTo>
                  <a:lnTo>
                    <a:pt x="1027" y="583"/>
                  </a:lnTo>
                  <a:lnTo>
                    <a:pt x="1009" y="602"/>
                  </a:lnTo>
                  <a:lnTo>
                    <a:pt x="989" y="617"/>
                  </a:lnTo>
                  <a:lnTo>
                    <a:pt x="966" y="631"/>
                  </a:lnTo>
                  <a:lnTo>
                    <a:pt x="944" y="643"/>
                  </a:lnTo>
                  <a:lnTo>
                    <a:pt x="918" y="652"/>
                  </a:lnTo>
                  <a:lnTo>
                    <a:pt x="893" y="660"/>
                  </a:lnTo>
                  <a:lnTo>
                    <a:pt x="868" y="664"/>
                  </a:lnTo>
                  <a:lnTo>
                    <a:pt x="841" y="665"/>
                  </a:lnTo>
                  <a:lnTo>
                    <a:pt x="814" y="664"/>
                  </a:lnTo>
                  <a:lnTo>
                    <a:pt x="788" y="660"/>
                  </a:lnTo>
                  <a:lnTo>
                    <a:pt x="763" y="652"/>
                  </a:lnTo>
                  <a:lnTo>
                    <a:pt x="738" y="643"/>
                  </a:lnTo>
                  <a:lnTo>
                    <a:pt x="715" y="631"/>
                  </a:lnTo>
                  <a:lnTo>
                    <a:pt x="693" y="617"/>
                  </a:lnTo>
                  <a:lnTo>
                    <a:pt x="673" y="602"/>
                  </a:lnTo>
                  <a:lnTo>
                    <a:pt x="654" y="583"/>
                  </a:lnTo>
                  <a:lnTo>
                    <a:pt x="637" y="563"/>
                  </a:lnTo>
                  <a:lnTo>
                    <a:pt x="621" y="542"/>
                  </a:lnTo>
                  <a:lnTo>
                    <a:pt x="608" y="518"/>
                  </a:lnTo>
                  <a:lnTo>
                    <a:pt x="596" y="494"/>
                  </a:lnTo>
                  <a:lnTo>
                    <a:pt x="587" y="467"/>
                  </a:lnTo>
                  <a:lnTo>
                    <a:pt x="580" y="441"/>
                  </a:lnTo>
                  <a:lnTo>
                    <a:pt x="576" y="413"/>
                  </a:lnTo>
                  <a:lnTo>
                    <a:pt x="575" y="385"/>
                  </a:lnTo>
                  <a:lnTo>
                    <a:pt x="573" y="380"/>
                  </a:lnTo>
                  <a:lnTo>
                    <a:pt x="573" y="369"/>
                  </a:lnTo>
                  <a:lnTo>
                    <a:pt x="573" y="340"/>
                  </a:lnTo>
                  <a:lnTo>
                    <a:pt x="575" y="297"/>
                  </a:lnTo>
                  <a:lnTo>
                    <a:pt x="576" y="267"/>
                  </a:lnTo>
                  <a:lnTo>
                    <a:pt x="579" y="238"/>
                  </a:lnTo>
                  <a:lnTo>
                    <a:pt x="585" y="210"/>
                  </a:lnTo>
                  <a:lnTo>
                    <a:pt x="595" y="182"/>
                  </a:lnTo>
                  <a:lnTo>
                    <a:pt x="605" y="157"/>
                  </a:lnTo>
                  <a:lnTo>
                    <a:pt x="618" y="131"/>
                  </a:lnTo>
                  <a:lnTo>
                    <a:pt x="634" y="109"/>
                  </a:lnTo>
                  <a:lnTo>
                    <a:pt x="650" y="88"/>
                  </a:lnTo>
                  <a:lnTo>
                    <a:pt x="670" y="69"/>
                  </a:lnTo>
                  <a:lnTo>
                    <a:pt x="690" y="50"/>
                  </a:lnTo>
                  <a:lnTo>
                    <a:pt x="713" y="36"/>
                  </a:lnTo>
                  <a:lnTo>
                    <a:pt x="735" y="24"/>
                  </a:lnTo>
                  <a:lnTo>
                    <a:pt x="760" y="13"/>
                  </a:lnTo>
                  <a:lnTo>
                    <a:pt x="786" y="5"/>
                  </a:lnTo>
                  <a:lnTo>
                    <a:pt x="814" y="1"/>
                  </a:lnTo>
                  <a:lnTo>
                    <a:pt x="841" y="0"/>
                  </a:lnTo>
                  <a:close/>
                  <a:moveTo>
                    <a:pt x="1417" y="3144"/>
                  </a:moveTo>
                  <a:lnTo>
                    <a:pt x="1538" y="3046"/>
                  </a:lnTo>
                  <a:lnTo>
                    <a:pt x="1600" y="2791"/>
                  </a:lnTo>
                  <a:lnTo>
                    <a:pt x="1655" y="2791"/>
                  </a:lnTo>
                  <a:lnTo>
                    <a:pt x="1585" y="3077"/>
                  </a:lnTo>
                  <a:lnTo>
                    <a:pt x="1413" y="3215"/>
                  </a:lnTo>
                  <a:lnTo>
                    <a:pt x="1343" y="4763"/>
                  </a:lnTo>
                  <a:lnTo>
                    <a:pt x="897" y="4763"/>
                  </a:lnTo>
                  <a:lnTo>
                    <a:pt x="897" y="2726"/>
                  </a:lnTo>
                  <a:lnTo>
                    <a:pt x="844" y="2726"/>
                  </a:lnTo>
                  <a:lnTo>
                    <a:pt x="844" y="4763"/>
                  </a:lnTo>
                  <a:lnTo>
                    <a:pt x="398" y="4763"/>
                  </a:lnTo>
                  <a:lnTo>
                    <a:pt x="326" y="3217"/>
                  </a:lnTo>
                  <a:lnTo>
                    <a:pt x="153" y="3077"/>
                  </a:lnTo>
                  <a:lnTo>
                    <a:pt x="82" y="2791"/>
                  </a:lnTo>
                  <a:lnTo>
                    <a:pt x="137" y="2791"/>
                  </a:lnTo>
                  <a:lnTo>
                    <a:pt x="199" y="3046"/>
                  </a:lnTo>
                  <a:lnTo>
                    <a:pt x="322" y="3147"/>
                  </a:lnTo>
                  <a:lnTo>
                    <a:pt x="304" y="2738"/>
                  </a:lnTo>
                  <a:lnTo>
                    <a:pt x="300" y="2738"/>
                  </a:lnTo>
                  <a:lnTo>
                    <a:pt x="0" y="2738"/>
                  </a:lnTo>
                  <a:lnTo>
                    <a:pt x="0" y="1086"/>
                  </a:lnTo>
                  <a:lnTo>
                    <a:pt x="1" y="1065"/>
                  </a:lnTo>
                  <a:lnTo>
                    <a:pt x="4" y="1045"/>
                  </a:lnTo>
                  <a:lnTo>
                    <a:pt x="9" y="1028"/>
                  </a:lnTo>
                  <a:lnTo>
                    <a:pt x="16" y="1012"/>
                  </a:lnTo>
                  <a:lnTo>
                    <a:pt x="25" y="997"/>
                  </a:lnTo>
                  <a:lnTo>
                    <a:pt x="35" y="983"/>
                  </a:lnTo>
                  <a:lnTo>
                    <a:pt x="46" y="971"/>
                  </a:lnTo>
                  <a:lnTo>
                    <a:pt x="60" y="959"/>
                  </a:lnTo>
                  <a:lnTo>
                    <a:pt x="74" y="948"/>
                  </a:lnTo>
                  <a:lnTo>
                    <a:pt x="89" y="939"/>
                  </a:lnTo>
                  <a:lnTo>
                    <a:pt x="106" y="929"/>
                  </a:lnTo>
                  <a:lnTo>
                    <a:pt x="123" y="920"/>
                  </a:lnTo>
                  <a:lnTo>
                    <a:pt x="162" y="904"/>
                  </a:lnTo>
                  <a:lnTo>
                    <a:pt x="202" y="890"/>
                  </a:lnTo>
                  <a:lnTo>
                    <a:pt x="606" y="742"/>
                  </a:lnTo>
                  <a:lnTo>
                    <a:pt x="738" y="1522"/>
                  </a:lnTo>
                  <a:lnTo>
                    <a:pt x="806" y="916"/>
                  </a:lnTo>
                  <a:lnTo>
                    <a:pt x="790" y="908"/>
                  </a:lnTo>
                  <a:lnTo>
                    <a:pt x="774" y="898"/>
                  </a:lnTo>
                  <a:lnTo>
                    <a:pt x="760" y="886"/>
                  </a:lnTo>
                  <a:lnTo>
                    <a:pt x="750" y="871"/>
                  </a:lnTo>
                  <a:lnTo>
                    <a:pt x="851" y="775"/>
                  </a:lnTo>
                  <a:lnTo>
                    <a:pt x="952" y="871"/>
                  </a:lnTo>
                  <a:lnTo>
                    <a:pt x="940" y="886"/>
                  </a:lnTo>
                  <a:lnTo>
                    <a:pt x="926" y="898"/>
                  </a:lnTo>
                  <a:lnTo>
                    <a:pt x="912" y="908"/>
                  </a:lnTo>
                  <a:lnTo>
                    <a:pt x="894" y="916"/>
                  </a:lnTo>
                  <a:lnTo>
                    <a:pt x="962" y="1522"/>
                  </a:lnTo>
                  <a:lnTo>
                    <a:pt x="1095" y="742"/>
                  </a:lnTo>
                  <a:lnTo>
                    <a:pt x="1500" y="890"/>
                  </a:lnTo>
                  <a:lnTo>
                    <a:pt x="1539" y="904"/>
                  </a:lnTo>
                  <a:lnTo>
                    <a:pt x="1577" y="920"/>
                  </a:lnTo>
                  <a:lnTo>
                    <a:pt x="1594" y="929"/>
                  </a:lnTo>
                  <a:lnTo>
                    <a:pt x="1611" y="939"/>
                  </a:lnTo>
                  <a:lnTo>
                    <a:pt x="1627" y="948"/>
                  </a:lnTo>
                  <a:lnTo>
                    <a:pt x="1642" y="959"/>
                  </a:lnTo>
                  <a:lnTo>
                    <a:pt x="1654" y="971"/>
                  </a:lnTo>
                  <a:lnTo>
                    <a:pt x="1665" y="983"/>
                  </a:lnTo>
                  <a:lnTo>
                    <a:pt x="1676" y="997"/>
                  </a:lnTo>
                  <a:lnTo>
                    <a:pt x="1684" y="1012"/>
                  </a:lnTo>
                  <a:lnTo>
                    <a:pt x="1691" y="1028"/>
                  </a:lnTo>
                  <a:lnTo>
                    <a:pt x="1696" y="1045"/>
                  </a:lnTo>
                  <a:lnTo>
                    <a:pt x="1699" y="1065"/>
                  </a:lnTo>
                  <a:lnTo>
                    <a:pt x="1700" y="1086"/>
                  </a:lnTo>
                  <a:lnTo>
                    <a:pt x="1700" y="2738"/>
                  </a:lnTo>
                  <a:lnTo>
                    <a:pt x="1436" y="2738"/>
                  </a:lnTo>
                  <a:lnTo>
                    <a:pt x="1417" y="3144"/>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646464"/>
                </a:solidFill>
              </a:endParaRPr>
            </a:p>
          </p:txBody>
        </p:sp>
        <p:sp>
          <p:nvSpPr>
            <p:cNvPr id="36" name="Freeform 63"/>
            <p:cNvSpPr>
              <a:spLocks noChangeAspect="1" noEditPoints="1"/>
            </p:cNvSpPr>
            <p:nvPr/>
          </p:nvSpPr>
          <p:spPr bwMode="auto">
            <a:xfrm>
              <a:off x="6112681" y="5337664"/>
              <a:ext cx="113415" cy="359148"/>
            </a:xfrm>
            <a:custGeom>
              <a:avLst/>
              <a:gdLst>
                <a:gd name="T0" fmla="*/ 2147483647 w 1510"/>
                <a:gd name="T1" fmla="*/ 2147483647 h 4763"/>
                <a:gd name="T2" fmla="*/ 2147483647 w 1510"/>
                <a:gd name="T3" fmla="*/ 2147483647 h 4763"/>
                <a:gd name="T4" fmla="*/ 2147483647 w 1510"/>
                <a:gd name="T5" fmla="*/ 2147483647 h 4763"/>
                <a:gd name="T6" fmla="*/ 2147483647 w 1510"/>
                <a:gd name="T7" fmla="*/ 2147483647 h 4763"/>
                <a:gd name="T8" fmla="*/ 2147483647 w 1510"/>
                <a:gd name="T9" fmla="*/ 2147483647 h 4763"/>
                <a:gd name="T10" fmla="*/ 2147483647 w 1510"/>
                <a:gd name="T11" fmla="*/ 2147483647 h 4763"/>
                <a:gd name="T12" fmla="*/ 2147483647 w 1510"/>
                <a:gd name="T13" fmla="*/ 2147483647 h 4763"/>
                <a:gd name="T14" fmla="*/ 2147483647 w 1510"/>
                <a:gd name="T15" fmla="*/ 2147483647 h 4763"/>
                <a:gd name="T16" fmla="*/ 2147483647 w 1510"/>
                <a:gd name="T17" fmla="*/ 2147483647 h 4763"/>
                <a:gd name="T18" fmla="*/ 2147483647 w 1510"/>
                <a:gd name="T19" fmla="*/ 2147483647 h 4763"/>
                <a:gd name="T20" fmla="*/ 2147483647 w 1510"/>
                <a:gd name="T21" fmla="*/ 2147483647 h 4763"/>
                <a:gd name="T22" fmla="*/ 2147483647 w 1510"/>
                <a:gd name="T23" fmla="*/ 2147483647 h 4763"/>
                <a:gd name="T24" fmla="*/ 2147483647 w 1510"/>
                <a:gd name="T25" fmla="*/ 2147483647 h 4763"/>
                <a:gd name="T26" fmla="*/ 2147483647 w 1510"/>
                <a:gd name="T27" fmla="*/ 2147483647 h 4763"/>
                <a:gd name="T28" fmla="*/ 2147483647 w 1510"/>
                <a:gd name="T29" fmla="*/ 2147483647 h 4763"/>
                <a:gd name="T30" fmla="*/ 2147483647 w 1510"/>
                <a:gd name="T31" fmla="*/ 2147483647 h 4763"/>
                <a:gd name="T32" fmla="*/ 2147483647 w 1510"/>
                <a:gd name="T33" fmla="*/ 2147483647 h 4763"/>
                <a:gd name="T34" fmla="*/ 2147483647 w 1510"/>
                <a:gd name="T35" fmla="*/ 2147483647 h 4763"/>
                <a:gd name="T36" fmla="*/ 2147483647 w 1510"/>
                <a:gd name="T37" fmla="*/ 2147483647 h 4763"/>
                <a:gd name="T38" fmla="*/ 2147483647 w 1510"/>
                <a:gd name="T39" fmla="*/ 2147483647 h 4763"/>
                <a:gd name="T40" fmla="*/ 2147483647 w 1510"/>
                <a:gd name="T41" fmla="*/ 2147483647 h 4763"/>
                <a:gd name="T42" fmla="*/ 2147483647 w 1510"/>
                <a:gd name="T43" fmla="*/ 2147483647 h 4763"/>
                <a:gd name="T44" fmla="*/ 2147483647 w 1510"/>
                <a:gd name="T45" fmla="*/ 2147483647 h 4763"/>
                <a:gd name="T46" fmla="*/ 2147483647 w 1510"/>
                <a:gd name="T47" fmla="*/ 2147483647 h 4763"/>
                <a:gd name="T48" fmla="*/ 2147483647 w 1510"/>
                <a:gd name="T49" fmla="*/ 2147483647 h 4763"/>
                <a:gd name="T50" fmla="*/ 2147483647 w 1510"/>
                <a:gd name="T51" fmla="*/ 2147483647 h 4763"/>
                <a:gd name="T52" fmla="*/ 2147483647 w 1510"/>
                <a:gd name="T53" fmla="*/ 2147483647 h 4763"/>
                <a:gd name="T54" fmla="*/ 2147483647 w 1510"/>
                <a:gd name="T55" fmla="*/ 2147483647 h 4763"/>
                <a:gd name="T56" fmla="*/ 2147483647 w 1510"/>
                <a:gd name="T57" fmla="*/ 2147483647 h 4763"/>
                <a:gd name="T58" fmla="*/ 2147483647 w 1510"/>
                <a:gd name="T59" fmla="*/ 2147483647 h 4763"/>
                <a:gd name="T60" fmla="*/ 2147483647 w 1510"/>
                <a:gd name="T61" fmla="*/ 2147483647 h 4763"/>
                <a:gd name="T62" fmla="*/ 2147483647 w 1510"/>
                <a:gd name="T63" fmla="*/ 2147483647 h 4763"/>
                <a:gd name="T64" fmla="*/ 2147483647 w 1510"/>
                <a:gd name="T65" fmla="*/ 2147483647 h 4763"/>
                <a:gd name="T66" fmla="*/ 2147483647 w 1510"/>
                <a:gd name="T67" fmla="*/ 2147483647 h 4763"/>
                <a:gd name="T68" fmla="*/ 2147483647 w 1510"/>
                <a:gd name="T69" fmla="*/ 2147483647 h 4763"/>
                <a:gd name="T70" fmla="*/ 2147483647 w 1510"/>
                <a:gd name="T71" fmla="*/ 2147483647 h 4763"/>
                <a:gd name="T72" fmla="*/ 2147483647 w 1510"/>
                <a:gd name="T73" fmla="*/ 2147483647 h 4763"/>
                <a:gd name="T74" fmla="*/ 2147483647 w 1510"/>
                <a:gd name="T75" fmla="*/ 2147483647 h 4763"/>
                <a:gd name="T76" fmla="*/ 2147483647 w 1510"/>
                <a:gd name="T77" fmla="*/ 2147483647 h 4763"/>
                <a:gd name="T78" fmla="*/ 2147483647 w 1510"/>
                <a:gd name="T79" fmla="*/ 2147483647 h 4763"/>
                <a:gd name="T80" fmla="*/ 2147483647 w 1510"/>
                <a:gd name="T81" fmla="*/ 2147483647 h 4763"/>
                <a:gd name="T82" fmla="*/ 2147483647 w 1510"/>
                <a:gd name="T83" fmla="*/ 2147483647 h 4763"/>
                <a:gd name="T84" fmla="*/ 2147483647 w 1510"/>
                <a:gd name="T85" fmla="*/ 2147483647 h 4763"/>
                <a:gd name="T86" fmla="*/ 2147483647 w 1510"/>
                <a:gd name="T87" fmla="*/ 2147483647 h 4763"/>
                <a:gd name="T88" fmla="*/ 2147483647 w 1510"/>
                <a:gd name="T89" fmla="*/ 2147483647 h 4763"/>
                <a:gd name="T90" fmla="*/ 2147483647 w 1510"/>
                <a:gd name="T91" fmla="*/ 2147483647 h 4763"/>
                <a:gd name="T92" fmla="*/ 2147483647 w 1510"/>
                <a:gd name="T93" fmla="*/ 2147483647 h 4763"/>
                <a:gd name="T94" fmla="*/ 2147483647 w 1510"/>
                <a:gd name="T95" fmla="*/ 2147483647 h 4763"/>
                <a:gd name="T96" fmla="*/ 2147483647 w 1510"/>
                <a:gd name="T97" fmla="*/ 2147483647 h 4763"/>
                <a:gd name="T98" fmla="*/ 2147483647 w 1510"/>
                <a:gd name="T99" fmla="*/ 2147483647 h 4763"/>
                <a:gd name="T100" fmla="*/ 2147483647 w 1510"/>
                <a:gd name="T101" fmla="*/ 2147483647 h 4763"/>
                <a:gd name="T102" fmla="*/ 2147483647 w 1510"/>
                <a:gd name="T103" fmla="*/ 2147483647 h 4763"/>
                <a:gd name="T104" fmla="*/ 2147483647 w 1510"/>
                <a:gd name="T105" fmla="*/ 2147483647 h 4763"/>
                <a:gd name="T106" fmla="*/ 2147483647 w 1510"/>
                <a:gd name="T107" fmla="*/ 2147483647 h 4763"/>
                <a:gd name="T108" fmla="*/ 2147483647 w 1510"/>
                <a:gd name="T109" fmla="*/ 2147483647 h 4763"/>
                <a:gd name="T110" fmla="*/ 2147483647 w 1510"/>
                <a:gd name="T111" fmla="*/ 2147483647 h 4763"/>
                <a:gd name="T112" fmla="*/ 2147483647 w 1510"/>
                <a:gd name="T113" fmla="*/ 2147483647 h 4763"/>
                <a:gd name="T114" fmla="*/ 2147483647 w 1510"/>
                <a:gd name="T115" fmla="*/ 2147483647 h 4763"/>
                <a:gd name="T116" fmla="*/ 2147483647 w 1510"/>
                <a:gd name="T117" fmla="*/ 2147483647 h 4763"/>
                <a:gd name="T118" fmla="*/ 2147483647 w 1510"/>
                <a:gd name="T119" fmla="*/ 2147483647 h 4763"/>
                <a:gd name="T120" fmla="*/ 2147483647 w 1510"/>
                <a:gd name="T121" fmla="*/ 2147483647 h 476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10"/>
                <a:gd name="T184" fmla="*/ 0 h 4763"/>
                <a:gd name="T185" fmla="*/ 1510 w 1510"/>
                <a:gd name="T186" fmla="*/ 4763 h 476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10" h="4763">
                  <a:moveTo>
                    <a:pt x="544" y="802"/>
                  </a:moveTo>
                  <a:lnTo>
                    <a:pt x="749" y="1234"/>
                  </a:lnTo>
                  <a:lnTo>
                    <a:pt x="951" y="806"/>
                  </a:lnTo>
                  <a:lnTo>
                    <a:pt x="1157" y="841"/>
                  </a:lnTo>
                  <a:lnTo>
                    <a:pt x="1184" y="846"/>
                  </a:lnTo>
                  <a:lnTo>
                    <a:pt x="1212" y="852"/>
                  </a:lnTo>
                  <a:lnTo>
                    <a:pt x="1238" y="860"/>
                  </a:lnTo>
                  <a:lnTo>
                    <a:pt x="1264" y="870"/>
                  </a:lnTo>
                  <a:lnTo>
                    <a:pt x="1287" y="879"/>
                  </a:lnTo>
                  <a:lnTo>
                    <a:pt x="1311" y="892"/>
                  </a:lnTo>
                  <a:lnTo>
                    <a:pt x="1333" y="907"/>
                  </a:lnTo>
                  <a:lnTo>
                    <a:pt x="1353" y="922"/>
                  </a:lnTo>
                  <a:lnTo>
                    <a:pt x="1371" y="941"/>
                  </a:lnTo>
                  <a:lnTo>
                    <a:pt x="1388" y="960"/>
                  </a:lnTo>
                  <a:lnTo>
                    <a:pt x="1403" y="984"/>
                  </a:lnTo>
                  <a:lnTo>
                    <a:pt x="1414" y="1007"/>
                  </a:lnTo>
                  <a:lnTo>
                    <a:pt x="1423" y="1034"/>
                  </a:lnTo>
                  <a:lnTo>
                    <a:pt x="1432" y="1065"/>
                  </a:lnTo>
                  <a:lnTo>
                    <a:pt x="1436" y="1096"/>
                  </a:lnTo>
                  <a:lnTo>
                    <a:pt x="1437" y="1131"/>
                  </a:lnTo>
                  <a:lnTo>
                    <a:pt x="1437" y="2330"/>
                  </a:lnTo>
                  <a:lnTo>
                    <a:pt x="1301" y="2735"/>
                  </a:lnTo>
                  <a:lnTo>
                    <a:pt x="1510" y="3779"/>
                  </a:lnTo>
                  <a:lnTo>
                    <a:pt x="1157" y="3779"/>
                  </a:lnTo>
                  <a:lnTo>
                    <a:pt x="1021" y="4763"/>
                  </a:lnTo>
                  <a:lnTo>
                    <a:pt x="910" y="4763"/>
                  </a:lnTo>
                  <a:lnTo>
                    <a:pt x="1046" y="3779"/>
                  </a:lnTo>
                  <a:lnTo>
                    <a:pt x="787" y="3779"/>
                  </a:lnTo>
                  <a:lnTo>
                    <a:pt x="782" y="4763"/>
                  </a:lnTo>
                  <a:lnTo>
                    <a:pt x="727" y="4763"/>
                  </a:lnTo>
                  <a:lnTo>
                    <a:pt x="732" y="3779"/>
                  </a:lnTo>
                  <a:lnTo>
                    <a:pt x="464" y="3779"/>
                  </a:lnTo>
                  <a:lnTo>
                    <a:pt x="599" y="4763"/>
                  </a:lnTo>
                  <a:lnTo>
                    <a:pt x="488" y="4763"/>
                  </a:lnTo>
                  <a:lnTo>
                    <a:pt x="353" y="3779"/>
                  </a:lnTo>
                  <a:lnTo>
                    <a:pt x="0" y="3779"/>
                  </a:lnTo>
                  <a:lnTo>
                    <a:pt x="213" y="2737"/>
                  </a:lnTo>
                  <a:lnTo>
                    <a:pt x="73" y="2331"/>
                  </a:lnTo>
                  <a:lnTo>
                    <a:pt x="73" y="1131"/>
                  </a:lnTo>
                  <a:lnTo>
                    <a:pt x="74" y="1098"/>
                  </a:lnTo>
                  <a:lnTo>
                    <a:pt x="78" y="1066"/>
                  </a:lnTo>
                  <a:lnTo>
                    <a:pt x="84" y="1037"/>
                  </a:lnTo>
                  <a:lnTo>
                    <a:pt x="93" y="1011"/>
                  </a:lnTo>
                  <a:lnTo>
                    <a:pt x="104" y="988"/>
                  </a:lnTo>
                  <a:lnTo>
                    <a:pt x="118" y="966"/>
                  </a:lnTo>
                  <a:lnTo>
                    <a:pt x="133" y="947"/>
                  </a:lnTo>
                  <a:lnTo>
                    <a:pt x="151" y="929"/>
                  </a:lnTo>
                  <a:lnTo>
                    <a:pt x="170" y="912"/>
                  </a:lnTo>
                  <a:lnTo>
                    <a:pt x="191" y="898"/>
                  </a:lnTo>
                  <a:lnTo>
                    <a:pt x="213" y="886"/>
                  </a:lnTo>
                  <a:lnTo>
                    <a:pt x="236" y="875"/>
                  </a:lnTo>
                  <a:lnTo>
                    <a:pt x="260" y="866"/>
                  </a:lnTo>
                  <a:lnTo>
                    <a:pt x="284" y="857"/>
                  </a:lnTo>
                  <a:lnTo>
                    <a:pt x="311" y="850"/>
                  </a:lnTo>
                  <a:lnTo>
                    <a:pt x="337" y="845"/>
                  </a:lnTo>
                  <a:lnTo>
                    <a:pt x="544" y="802"/>
                  </a:lnTo>
                  <a:close/>
                  <a:moveTo>
                    <a:pt x="956" y="919"/>
                  </a:moveTo>
                  <a:lnTo>
                    <a:pt x="747" y="1360"/>
                  </a:lnTo>
                  <a:lnTo>
                    <a:pt x="536" y="915"/>
                  </a:lnTo>
                  <a:lnTo>
                    <a:pt x="365" y="945"/>
                  </a:lnTo>
                  <a:lnTo>
                    <a:pt x="348" y="949"/>
                  </a:lnTo>
                  <a:lnTo>
                    <a:pt x="330" y="953"/>
                  </a:lnTo>
                  <a:lnTo>
                    <a:pt x="312" y="959"/>
                  </a:lnTo>
                  <a:lnTo>
                    <a:pt x="295" y="966"/>
                  </a:lnTo>
                  <a:lnTo>
                    <a:pt x="279" y="973"/>
                  </a:lnTo>
                  <a:lnTo>
                    <a:pt x="264" y="981"/>
                  </a:lnTo>
                  <a:lnTo>
                    <a:pt x="250" y="991"/>
                  </a:lnTo>
                  <a:lnTo>
                    <a:pt x="236" y="1002"/>
                  </a:lnTo>
                  <a:lnTo>
                    <a:pt x="225" y="1012"/>
                  </a:lnTo>
                  <a:lnTo>
                    <a:pt x="214" y="1026"/>
                  </a:lnTo>
                  <a:lnTo>
                    <a:pt x="205" y="1040"/>
                  </a:lnTo>
                  <a:lnTo>
                    <a:pt x="196" y="1056"/>
                  </a:lnTo>
                  <a:lnTo>
                    <a:pt x="191" y="1073"/>
                  </a:lnTo>
                  <a:lnTo>
                    <a:pt x="185" y="1091"/>
                  </a:lnTo>
                  <a:lnTo>
                    <a:pt x="183" y="1110"/>
                  </a:lnTo>
                  <a:lnTo>
                    <a:pt x="183" y="1131"/>
                  </a:lnTo>
                  <a:lnTo>
                    <a:pt x="183" y="2253"/>
                  </a:lnTo>
                  <a:lnTo>
                    <a:pt x="361" y="2253"/>
                  </a:lnTo>
                  <a:lnTo>
                    <a:pt x="404" y="2069"/>
                  </a:lnTo>
                  <a:lnTo>
                    <a:pt x="404" y="1504"/>
                  </a:lnTo>
                  <a:lnTo>
                    <a:pt x="334" y="1184"/>
                  </a:lnTo>
                  <a:lnTo>
                    <a:pt x="387" y="1172"/>
                  </a:lnTo>
                  <a:lnTo>
                    <a:pt x="459" y="1499"/>
                  </a:lnTo>
                  <a:lnTo>
                    <a:pt x="459" y="2072"/>
                  </a:lnTo>
                  <a:lnTo>
                    <a:pt x="1050" y="2072"/>
                  </a:lnTo>
                  <a:lnTo>
                    <a:pt x="1050" y="1499"/>
                  </a:lnTo>
                  <a:lnTo>
                    <a:pt x="1123" y="1172"/>
                  </a:lnTo>
                  <a:lnTo>
                    <a:pt x="1176" y="1184"/>
                  </a:lnTo>
                  <a:lnTo>
                    <a:pt x="1105" y="1504"/>
                  </a:lnTo>
                  <a:lnTo>
                    <a:pt x="1105" y="2069"/>
                  </a:lnTo>
                  <a:lnTo>
                    <a:pt x="1147" y="2253"/>
                  </a:lnTo>
                  <a:lnTo>
                    <a:pt x="1327" y="2253"/>
                  </a:lnTo>
                  <a:lnTo>
                    <a:pt x="1327" y="1131"/>
                  </a:lnTo>
                  <a:lnTo>
                    <a:pt x="1326" y="1110"/>
                  </a:lnTo>
                  <a:lnTo>
                    <a:pt x="1323" y="1092"/>
                  </a:lnTo>
                  <a:lnTo>
                    <a:pt x="1319" y="1073"/>
                  </a:lnTo>
                  <a:lnTo>
                    <a:pt x="1314" y="1056"/>
                  </a:lnTo>
                  <a:lnTo>
                    <a:pt x="1305" y="1041"/>
                  </a:lnTo>
                  <a:lnTo>
                    <a:pt x="1297" y="1028"/>
                  </a:lnTo>
                  <a:lnTo>
                    <a:pt x="1286" y="1014"/>
                  </a:lnTo>
                  <a:lnTo>
                    <a:pt x="1275" y="1002"/>
                  </a:lnTo>
                  <a:lnTo>
                    <a:pt x="1263" y="992"/>
                  </a:lnTo>
                  <a:lnTo>
                    <a:pt x="1249" y="982"/>
                  </a:lnTo>
                  <a:lnTo>
                    <a:pt x="1234" y="973"/>
                  </a:lnTo>
                  <a:lnTo>
                    <a:pt x="1219" y="966"/>
                  </a:lnTo>
                  <a:lnTo>
                    <a:pt x="1202" y="959"/>
                  </a:lnTo>
                  <a:lnTo>
                    <a:pt x="1186" y="955"/>
                  </a:lnTo>
                  <a:lnTo>
                    <a:pt x="1169" y="951"/>
                  </a:lnTo>
                  <a:lnTo>
                    <a:pt x="1151" y="947"/>
                  </a:lnTo>
                  <a:lnTo>
                    <a:pt x="956" y="919"/>
                  </a:lnTo>
                  <a:close/>
                  <a:moveTo>
                    <a:pt x="349" y="2308"/>
                  </a:moveTo>
                  <a:lnTo>
                    <a:pt x="183" y="2308"/>
                  </a:lnTo>
                  <a:lnTo>
                    <a:pt x="183" y="2311"/>
                  </a:lnTo>
                  <a:lnTo>
                    <a:pt x="282" y="2595"/>
                  </a:lnTo>
                  <a:lnTo>
                    <a:pt x="349" y="2308"/>
                  </a:lnTo>
                  <a:close/>
                  <a:moveTo>
                    <a:pt x="1327" y="2308"/>
                  </a:moveTo>
                  <a:lnTo>
                    <a:pt x="1160" y="2308"/>
                  </a:lnTo>
                  <a:lnTo>
                    <a:pt x="1227" y="2607"/>
                  </a:lnTo>
                  <a:lnTo>
                    <a:pt x="1327" y="2311"/>
                  </a:lnTo>
                  <a:lnTo>
                    <a:pt x="1327" y="2308"/>
                  </a:lnTo>
                  <a:close/>
                  <a:moveTo>
                    <a:pt x="1085" y="372"/>
                  </a:moveTo>
                  <a:lnTo>
                    <a:pt x="1085" y="445"/>
                  </a:lnTo>
                  <a:lnTo>
                    <a:pt x="1084" y="473"/>
                  </a:lnTo>
                  <a:lnTo>
                    <a:pt x="1081" y="496"/>
                  </a:lnTo>
                  <a:lnTo>
                    <a:pt x="1079" y="506"/>
                  </a:lnTo>
                  <a:lnTo>
                    <a:pt x="1076" y="515"/>
                  </a:lnTo>
                  <a:lnTo>
                    <a:pt x="1072" y="522"/>
                  </a:lnTo>
                  <a:lnTo>
                    <a:pt x="1068" y="529"/>
                  </a:lnTo>
                  <a:lnTo>
                    <a:pt x="1063" y="534"/>
                  </a:lnTo>
                  <a:lnTo>
                    <a:pt x="1058" y="540"/>
                  </a:lnTo>
                  <a:lnTo>
                    <a:pt x="1052" y="544"/>
                  </a:lnTo>
                  <a:lnTo>
                    <a:pt x="1047" y="547"/>
                  </a:lnTo>
                  <a:lnTo>
                    <a:pt x="1033" y="551"/>
                  </a:lnTo>
                  <a:lnTo>
                    <a:pt x="1018" y="552"/>
                  </a:lnTo>
                  <a:lnTo>
                    <a:pt x="1010" y="577"/>
                  </a:lnTo>
                  <a:lnTo>
                    <a:pt x="1025" y="587"/>
                  </a:lnTo>
                  <a:lnTo>
                    <a:pt x="1041" y="596"/>
                  </a:lnTo>
                  <a:lnTo>
                    <a:pt x="1058" y="603"/>
                  </a:lnTo>
                  <a:lnTo>
                    <a:pt x="1074" y="609"/>
                  </a:lnTo>
                  <a:lnTo>
                    <a:pt x="1092" y="614"/>
                  </a:lnTo>
                  <a:lnTo>
                    <a:pt x="1112" y="617"/>
                  </a:lnTo>
                  <a:lnTo>
                    <a:pt x="1129" y="618"/>
                  </a:lnTo>
                  <a:lnTo>
                    <a:pt x="1149" y="617"/>
                  </a:lnTo>
                  <a:lnTo>
                    <a:pt x="1151" y="617"/>
                  </a:lnTo>
                  <a:lnTo>
                    <a:pt x="1149" y="631"/>
                  </a:lnTo>
                  <a:lnTo>
                    <a:pt x="1146" y="643"/>
                  </a:lnTo>
                  <a:lnTo>
                    <a:pt x="1140" y="654"/>
                  </a:lnTo>
                  <a:lnTo>
                    <a:pt x="1135" y="666"/>
                  </a:lnTo>
                  <a:lnTo>
                    <a:pt x="1128" y="677"/>
                  </a:lnTo>
                  <a:lnTo>
                    <a:pt x="1120" y="687"/>
                  </a:lnTo>
                  <a:lnTo>
                    <a:pt x="1112" y="697"/>
                  </a:lnTo>
                  <a:lnTo>
                    <a:pt x="1102" y="706"/>
                  </a:lnTo>
                  <a:lnTo>
                    <a:pt x="1091" y="714"/>
                  </a:lnTo>
                  <a:lnTo>
                    <a:pt x="1080" y="721"/>
                  </a:lnTo>
                  <a:lnTo>
                    <a:pt x="1068" y="728"/>
                  </a:lnTo>
                  <a:lnTo>
                    <a:pt x="1055" y="734"/>
                  </a:lnTo>
                  <a:lnTo>
                    <a:pt x="1041" y="739"/>
                  </a:lnTo>
                  <a:lnTo>
                    <a:pt x="1028" y="743"/>
                  </a:lnTo>
                  <a:lnTo>
                    <a:pt x="1014" y="746"/>
                  </a:lnTo>
                  <a:lnTo>
                    <a:pt x="999" y="747"/>
                  </a:lnTo>
                  <a:lnTo>
                    <a:pt x="984" y="747"/>
                  </a:lnTo>
                  <a:lnTo>
                    <a:pt x="970" y="747"/>
                  </a:lnTo>
                  <a:lnTo>
                    <a:pt x="958" y="746"/>
                  </a:lnTo>
                  <a:lnTo>
                    <a:pt x="944" y="743"/>
                  </a:lnTo>
                  <a:lnTo>
                    <a:pt x="930" y="740"/>
                  </a:lnTo>
                  <a:lnTo>
                    <a:pt x="918" y="736"/>
                  </a:lnTo>
                  <a:lnTo>
                    <a:pt x="905" y="732"/>
                  </a:lnTo>
                  <a:lnTo>
                    <a:pt x="893" y="727"/>
                  </a:lnTo>
                  <a:lnTo>
                    <a:pt x="878" y="736"/>
                  </a:lnTo>
                  <a:lnTo>
                    <a:pt x="861" y="743"/>
                  </a:lnTo>
                  <a:lnTo>
                    <a:pt x="846" y="750"/>
                  </a:lnTo>
                  <a:lnTo>
                    <a:pt x="829" y="757"/>
                  </a:lnTo>
                  <a:lnTo>
                    <a:pt x="812" y="761"/>
                  </a:lnTo>
                  <a:lnTo>
                    <a:pt x="794" y="764"/>
                  </a:lnTo>
                  <a:lnTo>
                    <a:pt x="776" y="767"/>
                  </a:lnTo>
                  <a:lnTo>
                    <a:pt x="757" y="767"/>
                  </a:lnTo>
                  <a:lnTo>
                    <a:pt x="738" y="767"/>
                  </a:lnTo>
                  <a:lnTo>
                    <a:pt x="719" y="764"/>
                  </a:lnTo>
                  <a:lnTo>
                    <a:pt x="699" y="760"/>
                  </a:lnTo>
                  <a:lnTo>
                    <a:pt x="681" y="756"/>
                  </a:lnTo>
                  <a:lnTo>
                    <a:pt x="664" y="749"/>
                  </a:lnTo>
                  <a:lnTo>
                    <a:pt x="646" y="740"/>
                  </a:lnTo>
                  <a:lnTo>
                    <a:pt x="629" y="732"/>
                  </a:lnTo>
                  <a:lnTo>
                    <a:pt x="614" y="721"/>
                  </a:lnTo>
                  <a:lnTo>
                    <a:pt x="600" y="728"/>
                  </a:lnTo>
                  <a:lnTo>
                    <a:pt x="587" y="734"/>
                  </a:lnTo>
                  <a:lnTo>
                    <a:pt x="573" y="739"/>
                  </a:lnTo>
                  <a:lnTo>
                    <a:pt x="559" y="742"/>
                  </a:lnTo>
                  <a:lnTo>
                    <a:pt x="544" y="745"/>
                  </a:lnTo>
                  <a:lnTo>
                    <a:pt x="529" y="747"/>
                  </a:lnTo>
                  <a:lnTo>
                    <a:pt x="514" y="747"/>
                  </a:lnTo>
                  <a:lnTo>
                    <a:pt x="499" y="747"/>
                  </a:lnTo>
                  <a:lnTo>
                    <a:pt x="484" y="746"/>
                  </a:lnTo>
                  <a:lnTo>
                    <a:pt x="469" y="743"/>
                  </a:lnTo>
                  <a:lnTo>
                    <a:pt x="455" y="739"/>
                  </a:lnTo>
                  <a:lnTo>
                    <a:pt x="441" y="734"/>
                  </a:lnTo>
                  <a:lnTo>
                    <a:pt x="429" y="728"/>
                  </a:lnTo>
                  <a:lnTo>
                    <a:pt x="416" y="721"/>
                  </a:lnTo>
                  <a:lnTo>
                    <a:pt x="405" y="714"/>
                  </a:lnTo>
                  <a:lnTo>
                    <a:pt x="394" y="706"/>
                  </a:lnTo>
                  <a:lnTo>
                    <a:pt x="385" y="697"/>
                  </a:lnTo>
                  <a:lnTo>
                    <a:pt x="376" y="687"/>
                  </a:lnTo>
                  <a:lnTo>
                    <a:pt x="368" y="677"/>
                  </a:lnTo>
                  <a:lnTo>
                    <a:pt x="361" y="666"/>
                  </a:lnTo>
                  <a:lnTo>
                    <a:pt x="356" y="654"/>
                  </a:lnTo>
                  <a:lnTo>
                    <a:pt x="352" y="643"/>
                  </a:lnTo>
                  <a:lnTo>
                    <a:pt x="348" y="631"/>
                  </a:lnTo>
                  <a:lnTo>
                    <a:pt x="345" y="617"/>
                  </a:lnTo>
                  <a:lnTo>
                    <a:pt x="348" y="617"/>
                  </a:lnTo>
                  <a:lnTo>
                    <a:pt x="370" y="618"/>
                  </a:lnTo>
                  <a:lnTo>
                    <a:pt x="390" y="615"/>
                  </a:lnTo>
                  <a:lnTo>
                    <a:pt x="411" y="613"/>
                  </a:lnTo>
                  <a:lnTo>
                    <a:pt x="430" y="606"/>
                  </a:lnTo>
                  <a:lnTo>
                    <a:pt x="449" y="599"/>
                  </a:lnTo>
                  <a:lnTo>
                    <a:pt x="469" y="589"/>
                  </a:lnTo>
                  <a:lnTo>
                    <a:pt x="485" y="578"/>
                  </a:lnTo>
                  <a:lnTo>
                    <a:pt x="500" y="566"/>
                  </a:lnTo>
                  <a:lnTo>
                    <a:pt x="496" y="552"/>
                  </a:lnTo>
                  <a:lnTo>
                    <a:pt x="478" y="552"/>
                  </a:lnTo>
                  <a:lnTo>
                    <a:pt x="469" y="552"/>
                  </a:lnTo>
                  <a:lnTo>
                    <a:pt x="462" y="551"/>
                  </a:lnTo>
                  <a:lnTo>
                    <a:pt x="453" y="548"/>
                  </a:lnTo>
                  <a:lnTo>
                    <a:pt x="447" y="544"/>
                  </a:lnTo>
                  <a:lnTo>
                    <a:pt x="440" y="540"/>
                  </a:lnTo>
                  <a:lnTo>
                    <a:pt x="434" y="534"/>
                  </a:lnTo>
                  <a:lnTo>
                    <a:pt x="430" y="529"/>
                  </a:lnTo>
                  <a:lnTo>
                    <a:pt x="425" y="521"/>
                  </a:lnTo>
                  <a:lnTo>
                    <a:pt x="422" y="511"/>
                  </a:lnTo>
                  <a:lnTo>
                    <a:pt x="418" y="501"/>
                  </a:lnTo>
                  <a:lnTo>
                    <a:pt x="416" y="489"/>
                  </a:lnTo>
                  <a:lnTo>
                    <a:pt x="414" y="477"/>
                  </a:lnTo>
                  <a:lnTo>
                    <a:pt x="412" y="445"/>
                  </a:lnTo>
                  <a:lnTo>
                    <a:pt x="412" y="372"/>
                  </a:lnTo>
                  <a:lnTo>
                    <a:pt x="412" y="353"/>
                  </a:lnTo>
                  <a:lnTo>
                    <a:pt x="414" y="335"/>
                  </a:lnTo>
                  <a:lnTo>
                    <a:pt x="419" y="299"/>
                  </a:lnTo>
                  <a:lnTo>
                    <a:pt x="427" y="264"/>
                  </a:lnTo>
                  <a:lnTo>
                    <a:pt x="438" y="231"/>
                  </a:lnTo>
                  <a:lnTo>
                    <a:pt x="452" y="198"/>
                  </a:lnTo>
                  <a:lnTo>
                    <a:pt x="469" y="168"/>
                  </a:lnTo>
                  <a:lnTo>
                    <a:pt x="486" y="139"/>
                  </a:lnTo>
                  <a:lnTo>
                    <a:pt x="508" y="113"/>
                  </a:lnTo>
                  <a:lnTo>
                    <a:pt x="532" y="88"/>
                  </a:lnTo>
                  <a:lnTo>
                    <a:pt x="544" y="77"/>
                  </a:lnTo>
                  <a:lnTo>
                    <a:pt x="558" y="66"/>
                  </a:lnTo>
                  <a:lnTo>
                    <a:pt x="572" y="56"/>
                  </a:lnTo>
                  <a:lnTo>
                    <a:pt x="585" y="47"/>
                  </a:lnTo>
                  <a:lnTo>
                    <a:pt x="600" y="38"/>
                  </a:lnTo>
                  <a:lnTo>
                    <a:pt x="616" y="30"/>
                  </a:lnTo>
                  <a:lnTo>
                    <a:pt x="631" y="23"/>
                  </a:lnTo>
                  <a:lnTo>
                    <a:pt x="646" y="18"/>
                  </a:lnTo>
                  <a:lnTo>
                    <a:pt x="662" y="12"/>
                  </a:lnTo>
                  <a:lnTo>
                    <a:pt x="679" y="8"/>
                  </a:lnTo>
                  <a:lnTo>
                    <a:pt x="697" y="5"/>
                  </a:lnTo>
                  <a:lnTo>
                    <a:pt x="713" y="3"/>
                  </a:lnTo>
                  <a:lnTo>
                    <a:pt x="731" y="1"/>
                  </a:lnTo>
                  <a:lnTo>
                    <a:pt x="749" y="0"/>
                  </a:lnTo>
                  <a:lnTo>
                    <a:pt x="767" y="1"/>
                  </a:lnTo>
                  <a:lnTo>
                    <a:pt x="785" y="3"/>
                  </a:lnTo>
                  <a:lnTo>
                    <a:pt x="801" y="5"/>
                  </a:lnTo>
                  <a:lnTo>
                    <a:pt x="819" y="8"/>
                  </a:lnTo>
                  <a:lnTo>
                    <a:pt x="835" y="12"/>
                  </a:lnTo>
                  <a:lnTo>
                    <a:pt x="852" y="18"/>
                  </a:lnTo>
                  <a:lnTo>
                    <a:pt x="867" y="23"/>
                  </a:lnTo>
                  <a:lnTo>
                    <a:pt x="882" y="30"/>
                  </a:lnTo>
                  <a:lnTo>
                    <a:pt x="897" y="38"/>
                  </a:lnTo>
                  <a:lnTo>
                    <a:pt x="912" y="47"/>
                  </a:lnTo>
                  <a:lnTo>
                    <a:pt x="926" y="56"/>
                  </a:lnTo>
                  <a:lnTo>
                    <a:pt x="940" y="66"/>
                  </a:lnTo>
                  <a:lnTo>
                    <a:pt x="954" y="77"/>
                  </a:lnTo>
                  <a:lnTo>
                    <a:pt x="966" y="88"/>
                  </a:lnTo>
                  <a:lnTo>
                    <a:pt x="989" y="113"/>
                  </a:lnTo>
                  <a:lnTo>
                    <a:pt x="1011" y="139"/>
                  </a:lnTo>
                  <a:lnTo>
                    <a:pt x="1029" y="168"/>
                  </a:lnTo>
                  <a:lnTo>
                    <a:pt x="1046" y="198"/>
                  </a:lnTo>
                  <a:lnTo>
                    <a:pt x="1059" y="231"/>
                  </a:lnTo>
                  <a:lnTo>
                    <a:pt x="1070" y="264"/>
                  </a:lnTo>
                  <a:lnTo>
                    <a:pt x="1079" y="299"/>
                  </a:lnTo>
                  <a:lnTo>
                    <a:pt x="1084" y="335"/>
                  </a:lnTo>
                  <a:lnTo>
                    <a:pt x="1085" y="353"/>
                  </a:lnTo>
                  <a:lnTo>
                    <a:pt x="1085" y="372"/>
                  </a:lnTo>
                  <a:close/>
                  <a:moveTo>
                    <a:pt x="911" y="199"/>
                  </a:moveTo>
                  <a:lnTo>
                    <a:pt x="911" y="199"/>
                  </a:lnTo>
                  <a:lnTo>
                    <a:pt x="925" y="217"/>
                  </a:lnTo>
                  <a:lnTo>
                    <a:pt x="938" y="236"/>
                  </a:lnTo>
                  <a:lnTo>
                    <a:pt x="948" y="257"/>
                  </a:lnTo>
                  <a:lnTo>
                    <a:pt x="958" y="278"/>
                  </a:lnTo>
                  <a:lnTo>
                    <a:pt x="966" y="301"/>
                  </a:lnTo>
                  <a:lnTo>
                    <a:pt x="971" y="326"/>
                  </a:lnTo>
                  <a:lnTo>
                    <a:pt x="974" y="350"/>
                  </a:lnTo>
                  <a:lnTo>
                    <a:pt x="976" y="376"/>
                  </a:lnTo>
                  <a:lnTo>
                    <a:pt x="976" y="463"/>
                  </a:lnTo>
                  <a:lnTo>
                    <a:pt x="974" y="489"/>
                  </a:lnTo>
                  <a:lnTo>
                    <a:pt x="970" y="514"/>
                  </a:lnTo>
                  <a:lnTo>
                    <a:pt x="965" y="539"/>
                  </a:lnTo>
                  <a:lnTo>
                    <a:pt x="958" y="561"/>
                  </a:lnTo>
                  <a:lnTo>
                    <a:pt x="948" y="582"/>
                  </a:lnTo>
                  <a:lnTo>
                    <a:pt x="937" y="603"/>
                  </a:lnTo>
                  <a:lnTo>
                    <a:pt x="925" y="622"/>
                  </a:lnTo>
                  <a:lnTo>
                    <a:pt x="911" y="640"/>
                  </a:lnTo>
                  <a:lnTo>
                    <a:pt x="894" y="657"/>
                  </a:lnTo>
                  <a:lnTo>
                    <a:pt x="878" y="670"/>
                  </a:lnTo>
                  <a:lnTo>
                    <a:pt x="860" y="683"/>
                  </a:lnTo>
                  <a:lnTo>
                    <a:pt x="841" y="692"/>
                  </a:lnTo>
                  <a:lnTo>
                    <a:pt x="822" y="701"/>
                  </a:lnTo>
                  <a:lnTo>
                    <a:pt x="801" y="708"/>
                  </a:lnTo>
                  <a:lnTo>
                    <a:pt x="779" y="710"/>
                  </a:lnTo>
                  <a:lnTo>
                    <a:pt x="757" y="712"/>
                  </a:lnTo>
                  <a:lnTo>
                    <a:pt x="735" y="710"/>
                  </a:lnTo>
                  <a:lnTo>
                    <a:pt x="714" y="708"/>
                  </a:lnTo>
                  <a:lnTo>
                    <a:pt x="694" y="701"/>
                  </a:lnTo>
                  <a:lnTo>
                    <a:pt x="673" y="692"/>
                  </a:lnTo>
                  <a:lnTo>
                    <a:pt x="655" y="683"/>
                  </a:lnTo>
                  <a:lnTo>
                    <a:pt x="636" y="670"/>
                  </a:lnTo>
                  <a:lnTo>
                    <a:pt x="620" y="657"/>
                  </a:lnTo>
                  <a:lnTo>
                    <a:pt x="605" y="640"/>
                  </a:lnTo>
                  <a:lnTo>
                    <a:pt x="591" y="622"/>
                  </a:lnTo>
                  <a:lnTo>
                    <a:pt x="577" y="603"/>
                  </a:lnTo>
                  <a:lnTo>
                    <a:pt x="566" y="582"/>
                  </a:lnTo>
                  <a:lnTo>
                    <a:pt x="556" y="561"/>
                  </a:lnTo>
                  <a:lnTo>
                    <a:pt x="550" y="539"/>
                  </a:lnTo>
                  <a:lnTo>
                    <a:pt x="544" y="514"/>
                  </a:lnTo>
                  <a:lnTo>
                    <a:pt x="540" y="489"/>
                  </a:lnTo>
                  <a:lnTo>
                    <a:pt x="540" y="463"/>
                  </a:lnTo>
                  <a:lnTo>
                    <a:pt x="540" y="434"/>
                  </a:lnTo>
                  <a:lnTo>
                    <a:pt x="569" y="438"/>
                  </a:lnTo>
                  <a:lnTo>
                    <a:pt x="599" y="440"/>
                  </a:lnTo>
                  <a:lnTo>
                    <a:pt x="627" y="438"/>
                  </a:lnTo>
                  <a:lnTo>
                    <a:pt x="654" y="434"/>
                  </a:lnTo>
                  <a:lnTo>
                    <a:pt x="680" y="429"/>
                  </a:lnTo>
                  <a:lnTo>
                    <a:pt x="705" y="422"/>
                  </a:lnTo>
                  <a:lnTo>
                    <a:pt x="730" y="412"/>
                  </a:lnTo>
                  <a:lnTo>
                    <a:pt x="753" y="400"/>
                  </a:lnTo>
                  <a:lnTo>
                    <a:pt x="776" y="386"/>
                  </a:lnTo>
                  <a:lnTo>
                    <a:pt x="797" y="371"/>
                  </a:lnTo>
                  <a:lnTo>
                    <a:pt x="818" y="354"/>
                  </a:lnTo>
                  <a:lnTo>
                    <a:pt x="835" y="337"/>
                  </a:lnTo>
                  <a:lnTo>
                    <a:pt x="852" y="316"/>
                  </a:lnTo>
                  <a:lnTo>
                    <a:pt x="868" y="295"/>
                  </a:lnTo>
                  <a:lnTo>
                    <a:pt x="882" y="273"/>
                  </a:lnTo>
                  <a:lnTo>
                    <a:pt x="893" y="250"/>
                  </a:lnTo>
                  <a:lnTo>
                    <a:pt x="903" y="225"/>
                  </a:lnTo>
                  <a:lnTo>
                    <a:pt x="911" y="199"/>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646464"/>
                </a:solidFill>
              </a:endParaRPr>
            </a:p>
          </p:txBody>
        </p:sp>
        <p:sp>
          <p:nvSpPr>
            <p:cNvPr id="37" name="Freeform 108"/>
            <p:cNvSpPr>
              <a:spLocks noChangeAspect="1" noEditPoints="1"/>
            </p:cNvSpPr>
            <p:nvPr/>
          </p:nvSpPr>
          <p:spPr bwMode="auto">
            <a:xfrm>
              <a:off x="5927790" y="5337664"/>
              <a:ext cx="128183" cy="359148"/>
            </a:xfrm>
            <a:custGeom>
              <a:avLst/>
              <a:gdLst>
                <a:gd name="T0" fmla="*/ 2147483647 w 1700"/>
                <a:gd name="T1" fmla="*/ 2147483647 h 4763"/>
                <a:gd name="T2" fmla="*/ 2147483647 w 1700"/>
                <a:gd name="T3" fmla="*/ 2147483647 h 4763"/>
                <a:gd name="T4" fmla="*/ 2147483647 w 1700"/>
                <a:gd name="T5" fmla="*/ 2147483647 h 4763"/>
                <a:gd name="T6" fmla="*/ 2147483647 w 1700"/>
                <a:gd name="T7" fmla="*/ 2147483647 h 4763"/>
                <a:gd name="T8" fmla="*/ 2147483647 w 1700"/>
                <a:gd name="T9" fmla="*/ 2147483647 h 4763"/>
                <a:gd name="T10" fmla="*/ 2147483647 w 1700"/>
                <a:gd name="T11" fmla="*/ 2147483647 h 4763"/>
                <a:gd name="T12" fmla="*/ 2147483647 w 1700"/>
                <a:gd name="T13" fmla="*/ 2147483647 h 4763"/>
                <a:gd name="T14" fmla="*/ 2147483647 w 1700"/>
                <a:gd name="T15" fmla="*/ 2147483647 h 4763"/>
                <a:gd name="T16" fmla="*/ 2147483647 w 1700"/>
                <a:gd name="T17" fmla="*/ 2147483647 h 4763"/>
                <a:gd name="T18" fmla="*/ 2147483647 w 1700"/>
                <a:gd name="T19" fmla="*/ 2147483647 h 4763"/>
                <a:gd name="T20" fmla="*/ 2147483647 w 1700"/>
                <a:gd name="T21" fmla="*/ 2147483647 h 4763"/>
                <a:gd name="T22" fmla="*/ 2147483647 w 1700"/>
                <a:gd name="T23" fmla="*/ 2147483647 h 4763"/>
                <a:gd name="T24" fmla="*/ 2147483647 w 1700"/>
                <a:gd name="T25" fmla="*/ 2147483647 h 4763"/>
                <a:gd name="T26" fmla="*/ 2147483647 w 1700"/>
                <a:gd name="T27" fmla="*/ 2147483647 h 4763"/>
                <a:gd name="T28" fmla="*/ 2147483647 w 1700"/>
                <a:gd name="T29" fmla="*/ 2147483647 h 4763"/>
                <a:gd name="T30" fmla="*/ 2147483647 w 1700"/>
                <a:gd name="T31" fmla="*/ 2147483647 h 4763"/>
                <a:gd name="T32" fmla="*/ 2147483647 w 1700"/>
                <a:gd name="T33" fmla="*/ 2147483647 h 4763"/>
                <a:gd name="T34" fmla="*/ 2147483647 w 1700"/>
                <a:gd name="T35" fmla="*/ 2147483647 h 4763"/>
                <a:gd name="T36" fmla="*/ 2147483647 w 1700"/>
                <a:gd name="T37" fmla="*/ 2147483647 h 4763"/>
                <a:gd name="T38" fmla="*/ 2147483647 w 1700"/>
                <a:gd name="T39" fmla="*/ 2147483647 h 4763"/>
                <a:gd name="T40" fmla="*/ 2147483647 w 1700"/>
                <a:gd name="T41" fmla="*/ 0 h 4763"/>
                <a:gd name="T42" fmla="*/ 2147483647 w 1700"/>
                <a:gd name="T43" fmla="*/ 2147483647 h 4763"/>
                <a:gd name="T44" fmla="*/ 2147483647 w 1700"/>
                <a:gd name="T45" fmla="*/ 2147483647 h 4763"/>
                <a:gd name="T46" fmla="*/ 2147483647 w 1700"/>
                <a:gd name="T47" fmla="*/ 2147483647 h 4763"/>
                <a:gd name="T48" fmla="*/ 2147483647 w 1700"/>
                <a:gd name="T49" fmla="*/ 2147483647 h 4763"/>
                <a:gd name="T50" fmla="*/ 2147483647 w 1700"/>
                <a:gd name="T51" fmla="*/ 2147483647 h 4763"/>
                <a:gd name="T52" fmla="*/ 2147483647 w 1700"/>
                <a:gd name="T53" fmla="*/ 2147483647 h 4763"/>
                <a:gd name="T54" fmla="*/ 2147483647 w 1700"/>
                <a:gd name="T55" fmla="*/ 2147483647 h 4763"/>
                <a:gd name="T56" fmla="*/ 2147483647 w 1700"/>
                <a:gd name="T57" fmla="*/ 2147483647 h 4763"/>
                <a:gd name="T58" fmla="*/ 2147483647 w 1700"/>
                <a:gd name="T59" fmla="*/ 2147483647 h 4763"/>
                <a:gd name="T60" fmla="*/ 2147483647 w 1700"/>
                <a:gd name="T61" fmla="*/ 2147483647 h 4763"/>
                <a:gd name="T62" fmla="*/ 2147483647 w 1700"/>
                <a:gd name="T63" fmla="*/ 2147483647 h 4763"/>
                <a:gd name="T64" fmla="*/ 2147483647 w 1700"/>
                <a:gd name="T65" fmla="*/ 2147483647 h 4763"/>
                <a:gd name="T66" fmla="*/ 2147483647 w 1700"/>
                <a:gd name="T67" fmla="*/ 2147483647 h 4763"/>
                <a:gd name="T68" fmla="*/ 2147483647 w 1700"/>
                <a:gd name="T69" fmla="*/ 2147483647 h 4763"/>
                <a:gd name="T70" fmla="*/ 2147483647 w 1700"/>
                <a:gd name="T71" fmla="*/ 2147483647 h 4763"/>
                <a:gd name="T72" fmla="*/ 2147483647 w 1700"/>
                <a:gd name="T73" fmla="*/ 2147483647 h 4763"/>
                <a:gd name="T74" fmla="*/ 2147483647 w 1700"/>
                <a:gd name="T75" fmla="*/ 2147483647 h 4763"/>
                <a:gd name="T76" fmla="*/ 2147483647 w 1700"/>
                <a:gd name="T77" fmla="*/ 2147483647 h 4763"/>
                <a:gd name="T78" fmla="*/ 2147483647 w 1700"/>
                <a:gd name="T79" fmla="*/ 2147483647 h 4763"/>
                <a:gd name="T80" fmla="*/ 2147483647 w 1700"/>
                <a:gd name="T81" fmla="*/ 2147483647 h 4763"/>
                <a:gd name="T82" fmla="*/ 2147483647 w 1700"/>
                <a:gd name="T83" fmla="*/ 2147483647 h 4763"/>
                <a:gd name="T84" fmla="*/ 2147483647 w 1700"/>
                <a:gd name="T85" fmla="*/ 2147483647 h 4763"/>
                <a:gd name="T86" fmla="*/ 2147483647 w 1700"/>
                <a:gd name="T87" fmla="*/ 2147483647 h 4763"/>
                <a:gd name="T88" fmla="*/ 2147483647 w 1700"/>
                <a:gd name="T89" fmla="*/ 2147483647 h 4763"/>
                <a:gd name="T90" fmla="*/ 0 w 1700"/>
                <a:gd name="T91" fmla="*/ 2147483647 h 4763"/>
                <a:gd name="T92" fmla="*/ 2147483647 w 1700"/>
                <a:gd name="T93" fmla="*/ 2147483647 h 4763"/>
                <a:gd name="T94" fmla="*/ 2147483647 w 1700"/>
                <a:gd name="T95" fmla="*/ 2147483647 h 4763"/>
                <a:gd name="T96" fmla="*/ 2147483647 w 1700"/>
                <a:gd name="T97" fmla="*/ 2147483647 h 4763"/>
                <a:gd name="T98" fmla="*/ 2147483647 w 1700"/>
                <a:gd name="T99" fmla="*/ 2147483647 h 4763"/>
                <a:gd name="T100" fmla="*/ 2147483647 w 1700"/>
                <a:gd name="T101" fmla="*/ 2147483647 h 4763"/>
                <a:gd name="T102" fmla="*/ 2147483647 w 1700"/>
                <a:gd name="T103" fmla="*/ 2147483647 h 4763"/>
                <a:gd name="T104" fmla="*/ 2147483647 w 1700"/>
                <a:gd name="T105" fmla="*/ 2147483647 h 4763"/>
                <a:gd name="T106" fmla="*/ 2147483647 w 1700"/>
                <a:gd name="T107" fmla="*/ 2147483647 h 4763"/>
                <a:gd name="T108" fmla="*/ 2147483647 w 1700"/>
                <a:gd name="T109" fmla="*/ 2147483647 h 4763"/>
                <a:gd name="T110" fmla="*/ 2147483647 w 1700"/>
                <a:gd name="T111" fmla="*/ 2147483647 h 4763"/>
                <a:gd name="T112" fmla="*/ 2147483647 w 1700"/>
                <a:gd name="T113" fmla="*/ 2147483647 h 4763"/>
                <a:gd name="T114" fmla="*/ 2147483647 w 1700"/>
                <a:gd name="T115" fmla="*/ 2147483647 h 47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00"/>
                <a:gd name="T175" fmla="*/ 0 h 4763"/>
                <a:gd name="T176" fmla="*/ 1700 w 1700"/>
                <a:gd name="T177" fmla="*/ 4763 h 47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00" h="4763">
                  <a:moveTo>
                    <a:pt x="638" y="216"/>
                  </a:moveTo>
                  <a:lnTo>
                    <a:pt x="638" y="216"/>
                  </a:lnTo>
                  <a:lnTo>
                    <a:pt x="634" y="235"/>
                  </a:lnTo>
                  <a:lnTo>
                    <a:pt x="630" y="255"/>
                  </a:lnTo>
                  <a:lnTo>
                    <a:pt x="628" y="276"/>
                  </a:lnTo>
                  <a:lnTo>
                    <a:pt x="628" y="297"/>
                  </a:lnTo>
                  <a:lnTo>
                    <a:pt x="628" y="368"/>
                  </a:lnTo>
                  <a:lnTo>
                    <a:pt x="628" y="393"/>
                  </a:lnTo>
                  <a:lnTo>
                    <a:pt x="632" y="418"/>
                  </a:lnTo>
                  <a:lnTo>
                    <a:pt x="637" y="442"/>
                  </a:lnTo>
                  <a:lnTo>
                    <a:pt x="645" y="465"/>
                  </a:lnTo>
                  <a:lnTo>
                    <a:pt x="653" y="486"/>
                  </a:lnTo>
                  <a:lnTo>
                    <a:pt x="665" y="506"/>
                  </a:lnTo>
                  <a:lnTo>
                    <a:pt x="677" y="525"/>
                  </a:lnTo>
                  <a:lnTo>
                    <a:pt x="691" y="542"/>
                  </a:lnTo>
                  <a:lnTo>
                    <a:pt x="706" y="558"/>
                  </a:lnTo>
                  <a:lnTo>
                    <a:pt x="723" y="571"/>
                  </a:lnTo>
                  <a:lnTo>
                    <a:pt x="741" y="583"/>
                  </a:lnTo>
                  <a:lnTo>
                    <a:pt x="759" y="594"/>
                  </a:lnTo>
                  <a:lnTo>
                    <a:pt x="778" y="602"/>
                  </a:lnTo>
                  <a:lnTo>
                    <a:pt x="799" y="607"/>
                  </a:lnTo>
                  <a:lnTo>
                    <a:pt x="819" y="611"/>
                  </a:lnTo>
                  <a:lnTo>
                    <a:pt x="841" y="612"/>
                  </a:lnTo>
                  <a:lnTo>
                    <a:pt x="863" y="611"/>
                  </a:lnTo>
                  <a:lnTo>
                    <a:pt x="883" y="607"/>
                  </a:lnTo>
                  <a:lnTo>
                    <a:pt x="904" y="602"/>
                  </a:lnTo>
                  <a:lnTo>
                    <a:pt x="922" y="594"/>
                  </a:lnTo>
                  <a:lnTo>
                    <a:pt x="941" y="583"/>
                  </a:lnTo>
                  <a:lnTo>
                    <a:pt x="959" y="571"/>
                  </a:lnTo>
                  <a:lnTo>
                    <a:pt x="975" y="558"/>
                  </a:lnTo>
                  <a:lnTo>
                    <a:pt x="990" y="542"/>
                  </a:lnTo>
                  <a:lnTo>
                    <a:pt x="1005" y="525"/>
                  </a:lnTo>
                  <a:lnTo>
                    <a:pt x="1017" y="506"/>
                  </a:lnTo>
                  <a:lnTo>
                    <a:pt x="1028" y="486"/>
                  </a:lnTo>
                  <a:lnTo>
                    <a:pt x="1036" y="465"/>
                  </a:lnTo>
                  <a:lnTo>
                    <a:pt x="1044" y="442"/>
                  </a:lnTo>
                  <a:lnTo>
                    <a:pt x="1050" y="418"/>
                  </a:lnTo>
                  <a:lnTo>
                    <a:pt x="1054" y="393"/>
                  </a:lnTo>
                  <a:lnTo>
                    <a:pt x="1054" y="368"/>
                  </a:lnTo>
                  <a:lnTo>
                    <a:pt x="1054" y="297"/>
                  </a:lnTo>
                  <a:lnTo>
                    <a:pt x="1054" y="274"/>
                  </a:lnTo>
                  <a:lnTo>
                    <a:pt x="1051" y="251"/>
                  </a:lnTo>
                  <a:lnTo>
                    <a:pt x="1046" y="230"/>
                  </a:lnTo>
                  <a:lnTo>
                    <a:pt x="1040" y="208"/>
                  </a:lnTo>
                  <a:lnTo>
                    <a:pt x="1032" y="198"/>
                  </a:lnTo>
                  <a:lnTo>
                    <a:pt x="1025" y="189"/>
                  </a:lnTo>
                  <a:lnTo>
                    <a:pt x="1017" y="179"/>
                  </a:lnTo>
                  <a:lnTo>
                    <a:pt x="1007" y="171"/>
                  </a:lnTo>
                  <a:lnTo>
                    <a:pt x="997" y="163"/>
                  </a:lnTo>
                  <a:lnTo>
                    <a:pt x="986" y="157"/>
                  </a:lnTo>
                  <a:lnTo>
                    <a:pt x="963" y="145"/>
                  </a:lnTo>
                  <a:lnTo>
                    <a:pt x="952" y="158"/>
                  </a:lnTo>
                  <a:lnTo>
                    <a:pt x="938" y="170"/>
                  </a:lnTo>
                  <a:lnTo>
                    <a:pt x="924" y="181"/>
                  </a:lnTo>
                  <a:lnTo>
                    <a:pt x="908" y="190"/>
                  </a:lnTo>
                  <a:lnTo>
                    <a:pt x="892" y="197"/>
                  </a:lnTo>
                  <a:lnTo>
                    <a:pt x="873" y="202"/>
                  </a:lnTo>
                  <a:lnTo>
                    <a:pt x="855" y="206"/>
                  </a:lnTo>
                  <a:lnTo>
                    <a:pt x="836" y="207"/>
                  </a:lnTo>
                  <a:lnTo>
                    <a:pt x="817" y="206"/>
                  </a:lnTo>
                  <a:lnTo>
                    <a:pt x="800" y="203"/>
                  </a:lnTo>
                  <a:lnTo>
                    <a:pt x="783" y="198"/>
                  </a:lnTo>
                  <a:lnTo>
                    <a:pt x="767" y="191"/>
                  </a:lnTo>
                  <a:lnTo>
                    <a:pt x="751" y="183"/>
                  </a:lnTo>
                  <a:lnTo>
                    <a:pt x="737" y="173"/>
                  </a:lnTo>
                  <a:lnTo>
                    <a:pt x="725" y="162"/>
                  </a:lnTo>
                  <a:lnTo>
                    <a:pt x="713" y="149"/>
                  </a:lnTo>
                  <a:lnTo>
                    <a:pt x="690" y="162"/>
                  </a:lnTo>
                  <a:lnTo>
                    <a:pt x="679" y="169"/>
                  </a:lnTo>
                  <a:lnTo>
                    <a:pt x="670" y="178"/>
                  </a:lnTo>
                  <a:lnTo>
                    <a:pt x="661" y="186"/>
                  </a:lnTo>
                  <a:lnTo>
                    <a:pt x="653" y="195"/>
                  </a:lnTo>
                  <a:lnTo>
                    <a:pt x="645" y="206"/>
                  </a:lnTo>
                  <a:lnTo>
                    <a:pt x="638" y="216"/>
                  </a:lnTo>
                  <a:close/>
                  <a:moveTo>
                    <a:pt x="841" y="0"/>
                  </a:moveTo>
                  <a:lnTo>
                    <a:pt x="841" y="0"/>
                  </a:lnTo>
                  <a:lnTo>
                    <a:pt x="868" y="1"/>
                  </a:lnTo>
                  <a:lnTo>
                    <a:pt x="896" y="5"/>
                  </a:lnTo>
                  <a:lnTo>
                    <a:pt x="921" y="13"/>
                  </a:lnTo>
                  <a:lnTo>
                    <a:pt x="946" y="24"/>
                  </a:lnTo>
                  <a:lnTo>
                    <a:pt x="969" y="36"/>
                  </a:lnTo>
                  <a:lnTo>
                    <a:pt x="991" y="50"/>
                  </a:lnTo>
                  <a:lnTo>
                    <a:pt x="1011" y="68"/>
                  </a:lnTo>
                  <a:lnTo>
                    <a:pt x="1031" y="88"/>
                  </a:lnTo>
                  <a:lnTo>
                    <a:pt x="1047" y="109"/>
                  </a:lnTo>
                  <a:lnTo>
                    <a:pt x="1063" y="131"/>
                  </a:lnTo>
                  <a:lnTo>
                    <a:pt x="1076" y="157"/>
                  </a:lnTo>
                  <a:lnTo>
                    <a:pt x="1087" y="182"/>
                  </a:lnTo>
                  <a:lnTo>
                    <a:pt x="1096" y="210"/>
                  </a:lnTo>
                  <a:lnTo>
                    <a:pt x="1103" y="238"/>
                  </a:lnTo>
                  <a:lnTo>
                    <a:pt x="1107" y="267"/>
                  </a:lnTo>
                  <a:lnTo>
                    <a:pt x="1107" y="296"/>
                  </a:lnTo>
                  <a:lnTo>
                    <a:pt x="1108" y="340"/>
                  </a:lnTo>
                  <a:lnTo>
                    <a:pt x="1108" y="369"/>
                  </a:lnTo>
                  <a:lnTo>
                    <a:pt x="1108" y="380"/>
                  </a:lnTo>
                  <a:lnTo>
                    <a:pt x="1107" y="385"/>
                  </a:lnTo>
                  <a:lnTo>
                    <a:pt x="1105" y="413"/>
                  </a:lnTo>
                  <a:lnTo>
                    <a:pt x="1101" y="441"/>
                  </a:lnTo>
                  <a:lnTo>
                    <a:pt x="1095" y="467"/>
                  </a:lnTo>
                  <a:lnTo>
                    <a:pt x="1086" y="494"/>
                  </a:lnTo>
                  <a:lnTo>
                    <a:pt x="1074" y="518"/>
                  </a:lnTo>
                  <a:lnTo>
                    <a:pt x="1060" y="542"/>
                  </a:lnTo>
                  <a:lnTo>
                    <a:pt x="1044" y="563"/>
                  </a:lnTo>
                  <a:lnTo>
                    <a:pt x="1027" y="583"/>
                  </a:lnTo>
                  <a:lnTo>
                    <a:pt x="1009" y="602"/>
                  </a:lnTo>
                  <a:lnTo>
                    <a:pt x="989" y="617"/>
                  </a:lnTo>
                  <a:lnTo>
                    <a:pt x="966" y="631"/>
                  </a:lnTo>
                  <a:lnTo>
                    <a:pt x="944" y="643"/>
                  </a:lnTo>
                  <a:lnTo>
                    <a:pt x="918" y="652"/>
                  </a:lnTo>
                  <a:lnTo>
                    <a:pt x="893" y="660"/>
                  </a:lnTo>
                  <a:lnTo>
                    <a:pt x="868" y="664"/>
                  </a:lnTo>
                  <a:lnTo>
                    <a:pt x="841" y="665"/>
                  </a:lnTo>
                  <a:lnTo>
                    <a:pt x="814" y="664"/>
                  </a:lnTo>
                  <a:lnTo>
                    <a:pt x="788" y="660"/>
                  </a:lnTo>
                  <a:lnTo>
                    <a:pt x="763" y="652"/>
                  </a:lnTo>
                  <a:lnTo>
                    <a:pt x="738" y="643"/>
                  </a:lnTo>
                  <a:lnTo>
                    <a:pt x="715" y="631"/>
                  </a:lnTo>
                  <a:lnTo>
                    <a:pt x="693" y="617"/>
                  </a:lnTo>
                  <a:lnTo>
                    <a:pt x="673" y="602"/>
                  </a:lnTo>
                  <a:lnTo>
                    <a:pt x="654" y="583"/>
                  </a:lnTo>
                  <a:lnTo>
                    <a:pt x="637" y="563"/>
                  </a:lnTo>
                  <a:lnTo>
                    <a:pt x="621" y="542"/>
                  </a:lnTo>
                  <a:lnTo>
                    <a:pt x="608" y="518"/>
                  </a:lnTo>
                  <a:lnTo>
                    <a:pt x="596" y="494"/>
                  </a:lnTo>
                  <a:lnTo>
                    <a:pt x="587" y="467"/>
                  </a:lnTo>
                  <a:lnTo>
                    <a:pt x="580" y="441"/>
                  </a:lnTo>
                  <a:lnTo>
                    <a:pt x="576" y="413"/>
                  </a:lnTo>
                  <a:lnTo>
                    <a:pt x="575" y="385"/>
                  </a:lnTo>
                  <a:lnTo>
                    <a:pt x="573" y="380"/>
                  </a:lnTo>
                  <a:lnTo>
                    <a:pt x="573" y="369"/>
                  </a:lnTo>
                  <a:lnTo>
                    <a:pt x="573" y="340"/>
                  </a:lnTo>
                  <a:lnTo>
                    <a:pt x="575" y="297"/>
                  </a:lnTo>
                  <a:lnTo>
                    <a:pt x="576" y="267"/>
                  </a:lnTo>
                  <a:lnTo>
                    <a:pt x="579" y="238"/>
                  </a:lnTo>
                  <a:lnTo>
                    <a:pt x="585" y="210"/>
                  </a:lnTo>
                  <a:lnTo>
                    <a:pt x="595" y="182"/>
                  </a:lnTo>
                  <a:lnTo>
                    <a:pt x="605" y="157"/>
                  </a:lnTo>
                  <a:lnTo>
                    <a:pt x="618" y="131"/>
                  </a:lnTo>
                  <a:lnTo>
                    <a:pt x="634" y="109"/>
                  </a:lnTo>
                  <a:lnTo>
                    <a:pt x="650" y="88"/>
                  </a:lnTo>
                  <a:lnTo>
                    <a:pt x="670" y="69"/>
                  </a:lnTo>
                  <a:lnTo>
                    <a:pt x="690" y="50"/>
                  </a:lnTo>
                  <a:lnTo>
                    <a:pt x="713" y="36"/>
                  </a:lnTo>
                  <a:lnTo>
                    <a:pt x="735" y="24"/>
                  </a:lnTo>
                  <a:lnTo>
                    <a:pt x="760" y="13"/>
                  </a:lnTo>
                  <a:lnTo>
                    <a:pt x="786" y="5"/>
                  </a:lnTo>
                  <a:lnTo>
                    <a:pt x="814" y="1"/>
                  </a:lnTo>
                  <a:lnTo>
                    <a:pt x="841" y="0"/>
                  </a:lnTo>
                  <a:close/>
                  <a:moveTo>
                    <a:pt x="1417" y="3144"/>
                  </a:moveTo>
                  <a:lnTo>
                    <a:pt x="1538" y="3046"/>
                  </a:lnTo>
                  <a:lnTo>
                    <a:pt x="1600" y="2791"/>
                  </a:lnTo>
                  <a:lnTo>
                    <a:pt x="1655" y="2791"/>
                  </a:lnTo>
                  <a:lnTo>
                    <a:pt x="1585" y="3077"/>
                  </a:lnTo>
                  <a:lnTo>
                    <a:pt x="1413" y="3215"/>
                  </a:lnTo>
                  <a:lnTo>
                    <a:pt x="1343" y="4763"/>
                  </a:lnTo>
                  <a:lnTo>
                    <a:pt x="897" y="4763"/>
                  </a:lnTo>
                  <a:lnTo>
                    <a:pt x="897" y="2726"/>
                  </a:lnTo>
                  <a:lnTo>
                    <a:pt x="844" y="2726"/>
                  </a:lnTo>
                  <a:lnTo>
                    <a:pt x="844" y="4763"/>
                  </a:lnTo>
                  <a:lnTo>
                    <a:pt x="398" y="4763"/>
                  </a:lnTo>
                  <a:lnTo>
                    <a:pt x="326" y="3217"/>
                  </a:lnTo>
                  <a:lnTo>
                    <a:pt x="153" y="3077"/>
                  </a:lnTo>
                  <a:lnTo>
                    <a:pt x="82" y="2791"/>
                  </a:lnTo>
                  <a:lnTo>
                    <a:pt x="137" y="2791"/>
                  </a:lnTo>
                  <a:lnTo>
                    <a:pt x="199" y="3046"/>
                  </a:lnTo>
                  <a:lnTo>
                    <a:pt x="322" y="3147"/>
                  </a:lnTo>
                  <a:lnTo>
                    <a:pt x="304" y="2738"/>
                  </a:lnTo>
                  <a:lnTo>
                    <a:pt x="300" y="2738"/>
                  </a:lnTo>
                  <a:lnTo>
                    <a:pt x="0" y="2738"/>
                  </a:lnTo>
                  <a:lnTo>
                    <a:pt x="0" y="1086"/>
                  </a:lnTo>
                  <a:lnTo>
                    <a:pt x="1" y="1065"/>
                  </a:lnTo>
                  <a:lnTo>
                    <a:pt x="4" y="1045"/>
                  </a:lnTo>
                  <a:lnTo>
                    <a:pt x="9" y="1028"/>
                  </a:lnTo>
                  <a:lnTo>
                    <a:pt x="16" y="1012"/>
                  </a:lnTo>
                  <a:lnTo>
                    <a:pt x="25" y="997"/>
                  </a:lnTo>
                  <a:lnTo>
                    <a:pt x="35" y="983"/>
                  </a:lnTo>
                  <a:lnTo>
                    <a:pt x="46" y="971"/>
                  </a:lnTo>
                  <a:lnTo>
                    <a:pt x="60" y="959"/>
                  </a:lnTo>
                  <a:lnTo>
                    <a:pt x="74" y="948"/>
                  </a:lnTo>
                  <a:lnTo>
                    <a:pt x="89" y="939"/>
                  </a:lnTo>
                  <a:lnTo>
                    <a:pt x="106" y="929"/>
                  </a:lnTo>
                  <a:lnTo>
                    <a:pt x="123" y="920"/>
                  </a:lnTo>
                  <a:lnTo>
                    <a:pt x="162" y="904"/>
                  </a:lnTo>
                  <a:lnTo>
                    <a:pt x="202" y="890"/>
                  </a:lnTo>
                  <a:lnTo>
                    <a:pt x="606" y="742"/>
                  </a:lnTo>
                  <a:lnTo>
                    <a:pt x="738" y="1522"/>
                  </a:lnTo>
                  <a:lnTo>
                    <a:pt x="806" y="916"/>
                  </a:lnTo>
                  <a:lnTo>
                    <a:pt x="790" y="908"/>
                  </a:lnTo>
                  <a:lnTo>
                    <a:pt x="774" y="898"/>
                  </a:lnTo>
                  <a:lnTo>
                    <a:pt x="760" y="886"/>
                  </a:lnTo>
                  <a:lnTo>
                    <a:pt x="750" y="871"/>
                  </a:lnTo>
                  <a:lnTo>
                    <a:pt x="851" y="775"/>
                  </a:lnTo>
                  <a:lnTo>
                    <a:pt x="952" y="871"/>
                  </a:lnTo>
                  <a:lnTo>
                    <a:pt x="940" y="886"/>
                  </a:lnTo>
                  <a:lnTo>
                    <a:pt x="926" y="898"/>
                  </a:lnTo>
                  <a:lnTo>
                    <a:pt x="912" y="908"/>
                  </a:lnTo>
                  <a:lnTo>
                    <a:pt x="894" y="916"/>
                  </a:lnTo>
                  <a:lnTo>
                    <a:pt x="962" y="1522"/>
                  </a:lnTo>
                  <a:lnTo>
                    <a:pt x="1095" y="742"/>
                  </a:lnTo>
                  <a:lnTo>
                    <a:pt x="1500" y="890"/>
                  </a:lnTo>
                  <a:lnTo>
                    <a:pt x="1539" y="904"/>
                  </a:lnTo>
                  <a:lnTo>
                    <a:pt x="1577" y="920"/>
                  </a:lnTo>
                  <a:lnTo>
                    <a:pt x="1594" y="929"/>
                  </a:lnTo>
                  <a:lnTo>
                    <a:pt x="1611" y="939"/>
                  </a:lnTo>
                  <a:lnTo>
                    <a:pt x="1627" y="948"/>
                  </a:lnTo>
                  <a:lnTo>
                    <a:pt x="1642" y="959"/>
                  </a:lnTo>
                  <a:lnTo>
                    <a:pt x="1654" y="971"/>
                  </a:lnTo>
                  <a:lnTo>
                    <a:pt x="1665" y="983"/>
                  </a:lnTo>
                  <a:lnTo>
                    <a:pt x="1676" y="997"/>
                  </a:lnTo>
                  <a:lnTo>
                    <a:pt x="1684" y="1012"/>
                  </a:lnTo>
                  <a:lnTo>
                    <a:pt x="1691" y="1028"/>
                  </a:lnTo>
                  <a:lnTo>
                    <a:pt x="1696" y="1045"/>
                  </a:lnTo>
                  <a:lnTo>
                    <a:pt x="1699" y="1065"/>
                  </a:lnTo>
                  <a:lnTo>
                    <a:pt x="1700" y="1086"/>
                  </a:lnTo>
                  <a:lnTo>
                    <a:pt x="1700" y="2738"/>
                  </a:lnTo>
                  <a:lnTo>
                    <a:pt x="1436" y="2738"/>
                  </a:lnTo>
                  <a:lnTo>
                    <a:pt x="1417" y="3144"/>
                  </a:lnTo>
                  <a:close/>
                </a:path>
              </a:pathLst>
            </a:custGeom>
            <a:solidFill>
              <a:schemeClr val="bg2"/>
            </a:solidFill>
            <a:ln w="9525">
              <a:noFill/>
              <a:round/>
              <a:headEnd/>
              <a:tailEnd/>
            </a:ln>
          </p:spPr>
          <p:txBody>
            <a:bodyPr/>
            <a:lstStyle/>
            <a:p>
              <a:pPr algn="ctr" eaLnBrk="0" fontAlgn="base" hangingPunct="0">
                <a:spcBef>
                  <a:spcPct val="50000"/>
                </a:spcBef>
                <a:spcAft>
                  <a:spcPct val="0"/>
                </a:spcAft>
              </a:pPr>
              <a:endParaRPr lang="en-US" sz="1088" dirty="0">
                <a:solidFill>
                  <a:srgbClr val="646464"/>
                </a:solidFill>
              </a:endParaRPr>
            </a:p>
          </p:txBody>
        </p:sp>
      </p:grpSp>
      <p:sp>
        <p:nvSpPr>
          <p:cNvPr id="38" name="Rectangle 37"/>
          <p:cNvSpPr/>
          <p:nvPr/>
        </p:nvSpPr>
        <p:spPr>
          <a:xfrm>
            <a:off x="4625692" y="5198398"/>
            <a:ext cx="2114893" cy="637715"/>
          </a:xfrm>
          <a:prstGeom prst="rect">
            <a:avLst/>
          </a:prstGeom>
        </p:spPr>
        <p:txBody>
          <a:bodyPr wrap="square" lIns="82909" tIns="41454" rIns="82909" bIns="41454" anchor="ctr">
            <a:spAutoFit/>
          </a:bodyPr>
          <a:lstStyle/>
          <a:p>
            <a:pPr marL="0" lvl="1" algn="just" defTabSz="945204" eaLnBrk="0" fontAlgn="base" hangingPunct="0">
              <a:spcBef>
                <a:spcPct val="0"/>
              </a:spcBef>
              <a:spcAft>
                <a:spcPct val="0"/>
              </a:spcAft>
              <a:buClr>
                <a:srgbClr val="FFE600"/>
              </a:buClr>
              <a:buSzPct val="80000"/>
            </a:pPr>
            <a:r>
              <a:rPr lang="en-US" sz="1200" b="1" dirty="0">
                <a:solidFill>
                  <a:srgbClr val="FFE600"/>
                </a:solidFill>
                <a:cs typeface="Arial"/>
              </a:rPr>
              <a:t>&gt;15,000</a:t>
            </a:r>
            <a:endParaRPr lang="en-US" sz="1200" dirty="0">
              <a:solidFill>
                <a:srgbClr val="FFE600"/>
              </a:solidFill>
              <a:cs typeface="Arial"/>
            </a:endParaRPr>
          </a:p>
          <a:p>
            <a:pPr marL="0" lvl="1" defTabSz="945204" eaLnBrk="0" fontAlgn="base" hangingPunct="0">
              <a:spcBef>
                <a:spcPct val="0"/>
              </a:spcBef>
              <a:spcAft>
                <a:spcPct val="0"/>
              </a:spcAft>
              <a:buClr>
                <a:srgbClr val="FFE600"/>
              </a:buClr>
              <a:buSzPct val="80000"/>
            </a:pPr>
            <a:r>
              <a:rPr lang="en-US" sz="1200" kern="0" dirty="0" err="1">
                <a:solidFill>
                  <a:schemeClr val="bg1"/>
                </a:solidFill>
                <a:cs typeface="Arial"/>
              </a:rPr>
              <a:t>Transaktions</a:t>
            </a:r>
            <a:r>
              <a:rPr lang="en-US" sz="1200" kern="0" dirty="0">
                <a:solidFill>
                  <a:schemeClr val="bg1"/>
                </a:solidFill>
                <a:cs typeface="Arial"/>
              </a:rPr>
              <a:t> </a:t>
            </a:r>
            <a:r>
              <a:rPr lang="en-US" sz="1200" kern="0" dirty="0" err="1">
                <a:solidFill>
                  <a:schemeClr val="bg1"/>
                </a:solidFill>
                <a:cs typeface="Arial"/>
              </a:rPr>
              <a:t>Experten</a:t>
            </a:r>
            <a:r>
              <a:rPr lang="en-US" sz="1200" kern="0" dirty="0">
                <a:solidFill>
                  <a:schemeClr val="bg1"/>
                </a:solidFill>
                <a:cs typeface="Arial"/>
              </a:rPr>
              <a:t> </a:t>
            </a:r>
            <a:r>
              <a:rPr lang="en-US" sz="1200" kern="0" dirty="0" err="1">
                <a:solidFill>
                  <a:schemeClr val="bg1"/>
                </a:solidFill>
                <a:cs typeface="Arial"/>
              </a:rPr>
              <a:t>Weltweit</a:t>
            </a:r>
            <a:r>
              <a:rPr lang="en-US" sz="1200" kern="0" dirty="0">
                <a:solidFill>
                  <a:schemeClr val="bg1"/>
                </a:solidFill>
                <a:cs typeface="Arial"/>
              </a:rPr>
              <a:t> </a:t>
            </a:r>
          </a:p>
        </p:txBody>
      </p:sp>
      <p:cxnSp>
        <p:nvCxnSpPr>
          <p:cNvPr id="39" name="Straight Connector 38"/>
          <p:cNvCxnSpPr>
            <a:endCxn id="46" idx="0"/>
          </p:cNvCxnSpPr>
          <p:nvPr/>
        </p:nvCxnSpPr>
        <p:spPr bwMode="auto">
          <a:xfrm flipH="1">
            <a:off x="8547686" y="2823432"/>
            <a:ext cx="873119" cy="272571"/>
          </a:xfrm>
          <a:prstGeom prst="line">
            <a:avLst/>
          </a:prstGeom>
          <a:solidFill>
            <a:schemeClr val="folHlink"/>
          </a:solidFill>
          <a:ln w="12700" cap="flat" cmpd="sng" algn="ctr">
            <a:solidFill>
              <a:schemeClr val="accent2"/>
            </a:solidFill>
            <a:prstDash val="solid"/>
            <a:round/>
            <a:headEnd type="none" w="med" len="med"/>
            <a:tailEnd type="none" w="med" len="med"/>
          </a:ln>
          <a:effectLst/>
        </p:spPr>
      </p:cxnSp>
      <p:cxnSp>
        <p:nvCxnSpPr>
          <p:cNvPr id="40" name="Straight Connector 39"/>
          <p:cNvCxnSpPr>
            <a:endCxn id="46" idx="6"/>
          </p:cNvCxnSpPr>
          <p:nvPr/>
        </p:nvCxnSpPr>
        <p:spPr bwMode="auto">
          <a:xfrm flipH="1">
            <a:off x="9852191" y="2817757"/>
            <a:ext cx="410751" cy="1610220"/>
          </a:xfrm>
          <a:prstGeom prst="line">
            <a:avLst/>
          </a:prstGeom>
          <a:solidFill>
            <a:schemeClr val="folHlink"/>
          </a:solidFill>
          <a:ln w="12700" cap="flat" cmpd="sng" algn="ctr">
            <a:solidFill>
              <a:schemeClr val="accent2"/>
            </a:solidFill>
            <a:prstDash val="solid"/>
            <a:round/>
            <a:headEnd type="none" w="med" len="med"/>
            <a:tailEnd type="none" w="med" len="med"/>
          </a:ln>
          <a:effectLst/>
        </p:spPr>
      </p:cxnSp>
      <p:sp>
        <p:nvSpPr>
          <p:cNvPr id="41" name="Rectangle 40"/>
          <p:cNvSpPr/>
          <p:nvPr/>
        </p:nvSpPr>
        <p:spPr bwMode="auto">
          <a:xfrm>
            <a:off x="8538478" y="2531399"/>
            <a:ext cx="824029" cy="278246"/>
          </a:xfrm>
          <a:prstGeom prst="rect">
            <a:avLst/>
          </a:prstGeom>
          <a:solidFill>
            <a:srgbClr val="808080">
              <a:lumMod val="20000"/>
              <a:lumOff val="80000"/>
            </a:srgbClr>
          </a:solidFill>
          <a:ln w="12700" algn="ctr">
            <a:noFill/>
            <a:miter lim="800000"/>
            <a:headEnd/>
            <a:tailEnd/>
          </a:ln>
          <a:effectLst/>
        </p:spPr>
        <p:txBody>
          <a:bodyPr lIns="0" tIns="32650" rIns="0" bIns="32650" anchor="ctr" anchorCtr="0"/>
          <a:lstStyle/>
          <a:p>
            <a:pPr algn="ctr" defTabSz="828900" eaLnBrk="0" fontAlgn="base" hangingPunct="0">
              <a:spcBef>
                <a:spcPct val="50000"/>
              </a:spcBef>
              <a:spcAft>
                <a:spcPct val="0"/>
              </a:spcAft>
            </a:pPr>
            <a:r>
              <a:rPr lang="en-US" sz="1000" kern="0" dirty="0">
                <a:solidFill>
                  <a:srgbClr val="646464"/>
                </a:solidFill>
              </a:rPr>
              <a:t>Advisory</a:t>
            </a:r>
          </a:p>
        </p:txBody>
      </p:sp>
      <p:sp>
        <p:nvSpPr>
          <p:cNvPr id="42" name="Rectangle 41"/>
          <p:cNvSpPr/>
          <p:nvPr/>
        </p:nvSpPr>
        <p:spPr bwMode="auto">
          <a:xfrm>
            <a:off x="6730966" y="2531399"/>
            <a:ext cx="825863" cy="278246"/>
          </a:xfrm>
          <a:prstGeom prst="rect">
            <a:avLst/>
          </a:prstGeom>
          <a:solidFill>
            <a:srgbClr val="808080">
              <a:lumMod val="20000"/>
              <a:lumOff val="80000"/>
            </a:srgbClr>
          </a:solidFill>
          <a:ln w="12700" algn="ctr">
            <a:noFill/>
            <a:miter lim="800000"/>
            <a:headEnd/>
            <a:tailEnd/>
          </a:ln>
          <a:effectLst/>
        </p:spPr>
        <p:txBody>
          <a:bodyPr lIns="0" tIns="32650" rIns="0" bIns="32650" anchor="ctr" anchorCtr="0"/>
          <a:lstStyle/>
          <a:p>
            <a:pPr algn="ctr" defTabSz="828900" eaLnBrk="0" fontAlgn="base" hangingPunct="0">
              <a:spcBef>
                <a:spcPct val="50000"/>
              </a:spcBef>
              <a:spcAft>
                <a:spcPct val="0"/>
              </a:spcAft>
            </a:pPr>
            <a:r>
              <a:rPr lang="en-US" sz="1000" kern="0" dirty="0">
                <a:solidFill>
                  <a:srgbClr val="646464"/>
                </a:solidFill>
              </a:rPr>
              <a:t>Assurance</a:t>
            </a:r>
          </a:p>
        </p:txBody>
      </p:sp>
      <p:sp>
        <p:nvSpPr>
          <p:cNvPr id="43" name="Rectangle 42"/>
          <p:cNvSpPr/>
          <p:nvPr/>
        </p:nvSpPr>
        <p:spPr bwMode="auto">
          <a:xfrm>
            <a:off x="7635639" y="2531399"/>
            <a:ext cx="824029" cy="278246"/>
          </a:xfrm>
          <a:prstGeom prst="rect">
            <a:avLst/>
          </a:prstGeom>
          <a:solidFill>
            <a:srgbClr val="808080">
              <a:lumMod val="20000"/>
              <a:lumOff val="80000"/>
            </a:srgbClr>
          </a:solidFill>
          <a:ln w="12700" algn="ctr">
            <a:noFill/>
            <a:miter lim="800000"/>
            <a:headEnd/>
            <a:tailEnd/>
          </a:ln>
          <a:effectLst/>
        </p:spPr>
        <p:txBody>
          <a:bodyPr lIns="0" tIns="32650" rIns="0" bIns="32650" anchor="ctr" anchorCtr="0"/>
          <a:lstStyle/>
          <a:p>
            <a:pPr algn="ctr" defTabSz="828900" eaLnBrk="0" fontAlgn="base" hangingPunct="0">
              <a:spcBef>
                <a:spcPct val="50000"/>
              </a:spcBef>
              <a:spcAft>
                <a:spcPct val="0"/>
              </a:spcAft>
            </a:pPr>
            <a:r>
              <a:rPr lang="en-US" sz="1000" kern="0" dirty="0">
                <a:solidFill>
                  <a:srgbClr val="646464"/>
                </a:solidFill>
              </a:rPr>
              <a:t>Tax &amp; Law</a:t>
            </a:r>
          </a:p>
        </p:txBody>
      </p:sp>
      <p:sp>
        <p:nvSpPr>
          <p:cNvPr id="44" name="Rectangle 43"/>
          <p:cNvSpPr/>
          <p:nvPr/>
        </p:nvSpPr>
        <p:spPr bwMode="auto">
          <a:xfrm>
            <a:off x="9441317" y="2531399"/>
            <a:ext cx="824029" cy="278246"/>
          </a:xfrm>
          <a:prstGeom prst="rect">
            <a:avLst/>
          </a:prstGeom>
          <a:solidFill>
            <a:schemeClr val="accent2"/>
          </a:solidFill>
          <a:ln w="12700" algn="ctr">
            <a:noFill/>
            <a:miter lim="800000"/>
            <a:headEnd/>
            <a:tailEnd/>
          </a:ln>
          <a:effectLst/>
        </p:spPr>
        <p:txBody>
          <a:bodyPr lIns="0" tIns="32650" rIns="0" bIns="32650" anchor="ctr" anchorCtr="0"/>
          <a:lstStyle/>
          <a:p>
            <a:pPr algn="ctr" defTabSz="828900" eaLnBrk="0" fontAlgn="base" hangingPunct="0">
              <a:spcBef>
                <a:spcPct val="50000"/>
              </a:spcBef>
              <a:spcAft>
                <a:spcPct val="0"/>
              </a:spcAft>
            </a:pPr>
            <a:r>
              <a:rPr lang="en-US" sz="1000" b="1" kern="0" dirty="0">
                <a:solidFill>
                  <a:srgbClr val="FFFFFF"/>
                </a:solidFill>
              </a:rPr>
              <a:t>TAS</a:t>
            </a:r>
          </a:p>
        </p:txBody>
      </p:sp>
      <p:sp>
        <p:nvSpPr>
          <p:cNvPr id="45" name="Rectangle 44"/>
          <p:cNvSpPr/>
          <p:nvPr/>
        </p:nvSpPr>
        <p:spPr bwMode="auto">
          <a:xfrm>
            <a:off x="6730966" y="1996421"/>
            <a:ext cx="3534379" cy="295847"/>
          </a:xfrm>
          <a:prstGeom prst="rect">
            <a:avLst/>
          </a:prstGeom>
          <a:solidFill>
            <a:schemeClr val="accent2"/>
          </a:solidFill>
          <a:ln w="12700">
            <a:noFill/>
            <a:miter lim="800000"/>
            <a:headEnd/>
            <a:tailEnd/>
          </a:ln>
        </p:spPr>
        <p:txBody>
          <a:bodyPr wrap="square" lIns="32650" tIns="32650" rIns="32650" bIns="32650" anchor="ctr">
            <a:noAutofit/>
          </a:bodyPr>
          <a:lstStyle/>
          <a:p>
            <a:pPr algn="ctr" defTabSz="828900" eaLnBrk="0" fontAlgn="base" hangingPunct="0">
              <a:spcBef>
                <a:spcPct val="50000"/>
              </a:spcBef>
              <a:spcAft>
                <a:spcPct val="0"/>
              </a:spcAft>
            </a:pPr>
            <a:r>
              <a:rPr lang="en-US" sz="1200" b="1" kern="0" dirty="0">
                <a:solidFill>
                  <a:srgbClr val="FFFFFF"/>
                </a:solidFill>
              </a:rPr>
              <a:t>EY</a:t>
            </a:r>
          </a:p>
        </p:txBody>
      </p:sp>
      <p:sp>
        <p:nvSpPr>
          <p:cNvPr id="46" name="Oval 45"/>
          <p:cNvSpPr>
            <a:spLocks noChangeArrowheads="1"/>
          </p:cNvSpPr>
          <p:nvPr/>
        </p:nvSpPr>
        <p:spPr bwMode="auto">
          <a:xfrm>
            <a:off x="7243180" y="3096003"/>
            <a:ext cx="2609011" cy="2663947"/>
          </a:xfrm>
          <a:prstGeom prst="ellipse">
            <a:avLst/>
          </a:prstGeom>
          <a:solidFill>
            <a:schemeClr val="accent2"/>
          </a:solidFill>
          <a:ln w="9525">
            <a:noFill/>
            <a:round/>
            <a:headEnd/>
            <a:tailEnd/>
          </a:ln>
        </p:spPr>
        <p:txBody>
          <a:bodyPr wrap="none" lIns="82932" tIns="41466" rIns="82932" bIns="41466" anchor="ctr"/>
          <a:lstStyle/>
          <a:p>
            <a:pPr algn="ctr" defTabSz="828545" eaLnBrk="0" fontAlgn="base" hangingPunct="0">
              <a:spcBef>
                <a:spcPct val="0"/>
              </a:spcBef>
              <a:spcAft>
                <a:spcPct val="50000"/>
              </a:spcAft>
              <a:buClr>
                <a:srgbClr val="FFE600"/>
              </a:buClr>
              <a:buSzPct val="80000"/>
            </a:pPr>
            <a:endParaRPr lang="en-US" sz="907" kern="0" dirty="0">
              <a:solidFill>
                <a:srgbClr val="646464"/>
              </a:solidFill>
            </a:endParaRPr>
          </a:p>
        </p:txBody>
      </p:sp>
      <p:sp>
        <p:nvSpPr>
          <p:cNvPr id="47" name="Oval 11"/>
          <p:cNvSpPr>
            <a:spLocks noChangeArrowheads="1"/>
          </p:cNvSpPr>
          <p:nvPr/>
        </p:nvSpPr>
        <p:spPr bwMode="auto">
          <a:xfrm>
            <a:off x="7481118" y="3338691"/>
            <a:ext cx="2133130" cy="2178565"/>
          </a:xfrm>
          <a:prstGeom prst="ellipse">
            <a:avLst/>
          </a:prstGeom>
          <a:solidFill>
            <a:srgbClr val="A5A4A7">
              <a:lumMod val="20000"/>
              <a:lumOff val="80000"/>
            </a:srgbClr>
          </a:solidFill>
          <a:ln w="9525">
            <a:noFill/>
            <a:round/>
            <a:headEnd/>
            <a:tailEnd/>
          </a:ln>
        </p:spPr>
        <p:txBody>
          <a:bodyPr wrap="none" lIns="82932" tIns="41466" rIns="82932" bIns="41466" anchor="ctr"/>
          <a:lstStyle/>
          <a:p>
            <a:pPr algn="ctr" defTabSz="828545" eaLnBrk="0" fontAlgn="base" hangingPunct="0">
              <a:spcBef>
                <a:spcPct val="0"/>
              </a:spcBef>
              <a:spcAft>
                <a:spcPct val="50000"/>
              </a:spcAft>
              <a:buClr>
                <a:srgbClr val="FFE600"/>
              </a:buClr>
              <a:buSzPct val="80000"/>
            </a:pPr>
            <a:endParaRPr lang="en-US" sz="726" kern="0" dirty="0">
              <a:solidFill>
                <a:srgbClr val="646464"/>
              </a:solidFill>
            </a:endParaRPr>
          </a:p>
        </p:txBody>
      </p:sp>
      <p:sp>
        <p:nvSpPr>
          <p:cNvPr id="48" name="Rectangle 18"/>
          <p:cNvSpPr>
            <a:spLocks noChangeArrowheads="1"/>
          </p:cNvSpPr>
          <p:nvPr/>
        </p:nvSpPr>
        <p:spPr bwMode="gray">
          <a:xfrm>
            <a:off x="8263833" y="3522710"/>
            <a:ext cx="591929" cy="111697"/>
          </a:xfrm>
          <a:prstGeom prst="rect">
            <a:avLst/>
          </a:prstGeom>
          <a:noFill/>
          <a:ln w="9525" algn="ctr">
            <a:noFill/>
            <a:miter lim="800000"/>
            <a:headEnd/>
            <a:tailEnd/>
          </a:ln>
        </p:spPr>
        <p:txBody>
          <a:bodyPr lIns="0" tIns="0" rIns="0" bIns="0" anchor="ctr">
            <a:spAutoFit/>
          </a:bodyPr>
          <a:lstStyle/>
          <a:p>
            <a:pPr algn="ctr" defTabSz="945061" eaLnBrk="0" fontAlgn="base" hangingPunct="0">
              <a:spcBef>
                <a:spcPct val="0"/>
              </a:spcBef>
              <a:spcAft>
                <a:spcPct val="50000"/>
              </a:spcAft>
              <a:buClr>
                <a:srgbClr val="F2F2F2"/>
              </a:buClr>
              <a:buSzPct val="75000"/>
            </a:pPr>
            <a:r>
              <a:rPr lang="en-US" sz="726" kern="0" dirty="0">
                <a:solidFill>
                  <a:srgbClr val="646464"/>
                </a:solidFill>
              </a:rPr>
              <a:t>Strategy</a:t>
            </a:r>
          </a:p>
        </p:txBody>
      </p:sp>
      <p:sp>
        <p:nvSpPr>
          <p:cNvPr id="49" name="Rectangle 19"/>
          <p:cNvSpPr>
            <a:spLocks noChangeArrowheads="1"/>
          </p:cNvSpPr>
          <p:nvPr/>
        </p:nvSpPr>
        <p:spPr bwMode="gray">
          <a:xfrm>
            <a:off x="8498737" y="5073915"/>
            <a:ext cx="659544" cy="223394"/>
          </a:xfrm>
          <a:prstGeom prst="rect">
            <a:avLst/>
          </a:prstGeom>
          <a:noFill/>
          <a:ln w="9525" algn="ctr">
            <a:noFill/>
            <a:miter lim="800000"/>
            <a:headEnd/>
            <a:tailEnd/>
          </a:ln>
        </p:spPr>
        <p:txBody>
          <a:bodyPr lIns="0" tIns="0" rIns="0" bIns="0" anchor="ctr">
            <a:spAutoFit/>
          </a:bodyPr>
          <a:lstStyle/>
          <a:p>
            <a:pPr algn="ctr" defTabSz="945061" eaLnBrk="0" fontAlgn="base" hangingPunct="0">
              <a:spcBef>
                <a:spcPct val="0"/>
              </a:spcBef>
              <a:spcAft>
                <a:spcPct val="50000"/>
              </a:spcAft>
              <a:buClr>
                <a:srgbClr val="F2F2F2"/>
              </a:buClr>
              <a:buSzPct val="75000"/>
            </a:pPr>
            <a:r>
              <a:rPr lang="en-US" sz="726" kern="0" dirty="0">
                <a:solidFill>
                  <a:srgbClr val="646464"/>
                </a:solidFill>
              </a:rPr>
              <a:t>Transaction Support</a:t>
            </a:r>
          </a:p>
        </p:txBody>
      </p:sp>
      <p:sp>
        <p:nvSpPr>
          <p:cNvPr id="50" name="Rectangle 20"/>
          <p:cNvSpPr>
            <a:spLocks noChangeArrowheads="1"/>
          </p:cNvSpPr>
          <p:nvPr/>
        </p:nvSpPr>
        <p:spPr bwMode="gray">
          <a:xfrm>
            <a:off x="7587462" y="4668565"/>
            <a:ext cx="634050" cy="223394"/>
          </a:xfrm>
          <a:prstGeom prst="rect">
            <a:avLst/>
          </a:prstGeom>
          <a:noFill/>
          <a:ln w="9525" algn="ctr">
            <a:noFill/>
            <a:miter lim="800000"/>
            <a:headEnd/>
            <a:tailEnd/>
          </a:ln>
        </p:spPr>
        <p:txBody>
          <a:bodyPr lIns="0" tIns="0" rIns="0" bIns="0" anchor="ctr">
            <a:spAutoFit/>
          </a:bodyPr>
          <a:lstStyle/>
          <a:p>
            <a:pPr algn="ctr" defTabSz="945061" eaLnBrk="0" fontAlgn="base" hangingPunct="0">
              <a:spcBef>
                <a:spcPct val="0"/>
              </a:spcBef>
              <a:spcAft>
                <a:spcPct val="50000"/>
              </a:spcAft>
              <a:buClr>
                <a:srgbClr val="F2F2F2"/>
              </a:buClr>
              <a:buSzPct val="75000"/>
            </a:pPr>
            <a:r>
              <a:rPr lang="en-US" sz="726" kern="0" dirty="0">
                <a:solidFill>
                  <a:srgbClr val="646464"/>
                </a:solidFill>
              </a:rPr>
              <a:t>Transaction Tax</a:t>
            </a:r>
          </a:p>
        </p:txBody>
      </p:sp>
      <p:sp>
        <p:nvSpPr>
          <p:cNvPr id="51" name="Rectangle 24"/>
          <p:cNvSpPr>
            <a:spLocks noChangeArrowheads="1"/>
          </p:cNvSpPr>
          <p:nvPr/>
        </p:nvSpPr>
        <p:spPr bwMode="gray">
          <a:xfrm>
            <a:off x="7960443" y="5018065"/>
            <a:ext cx="634050" cy="335092"/>
          </a:xfrm>
          <a:prstGeom prst="rect">
            <a:avLst/>
          </a:prstGeom>
          <a:noFill/>
          <a:ln w="9525" algn="ctr">
            <a:noFill/>
            <a:miter lim="800000"/>
            <a:headEnd/>
            <a:tailEnd/>
          </a:ln>
        </p:spPr>
        <p:txBody>
          <a:bodyPr lIns="0" tIns="0" rIns="0" bIns="0" anchor="ctr">
            <a:spAutoFit/>
          </a:bodyPr>
          <a:lstStyle/>
          <a:p>
            <a:pPr algn="ctr" defTabSz="945061" eaLnBrk="0" fontAlgn="base" hangingPunct="0">
              <a:spcBef>
                <a:spcPct val="0"/>
              </a:spcBef>
              <a:spcAft>
                <a:spcPct val="50000"/>
              </a:spcAft>
              <a:buClr>
                <a:srgbClr val="F2F2F2"/>
              </a:buClr>
              <a:buSzPct val="75000"/>
            </a:pPr>
            <a:r>
              <a:rPr lang="en-US" sz="726" kern="0" dirty="0">
                <a:solidFill>
                  <a:srgbClr val="646464"/>
                </a:solidFill>
              </a:rPr>
              <a:t>Operational Transaction Services</a:t>
            </a:r>
          </a:p>
        </p:txBody>
      </p:sp>
      <p:sp>
        <p:nvSpPr>
          <p:cNvPr id="52" name="Rectangle 25"/>
          <p:cNvSpPr>
            <a:spLocks noChangeArrowheads="1"/>
          </p:cNvSpPr>
          <p:nvPr/>
        </p:nvSpPr>
        <p:spPr bwMode="gray">
          <a:xfrm>
            <a:off x="7766544" y="3701235"/>
            <a:ext cx="523203" cy="223394"/>
          </a:xfrm>
          <a:prstGeom prst="rect">
            <a:avLst/>
          </a:prstGeom>
          <a:noFill/>
          <a:ln w="9525" algn="ctr">
            <a:noFill/>
            <a:miter lim="800000"/>
            <a:headEnd/>
            <a:tailEnd/>
          </a:ln>
        </p:spPr>
        <p:txBody>
          <a:bodyPr lIns="0" tIns="0" rIns="0" bIns="0" anchor="ctr">
            <a:spAutoFit/>
          </a:bodyPr>
          <a:lstStyle/>
          <a:p>
            <a:pPr algn="ctr" defTabSz="945061" eaLnBrk="0" fontAlgn="base" hangingPunct="0">
              <a:spcBef>
                <a:spcPct val="0"/>
              </a:spcBef>
              <a:spcAft>
                <a:spcPct val="50000"/>
              </a:spcAft>
              <a:buClr>
                <a:srgbClr val="F2F2F2"/>
              </a:buClr>
              <a:buSzPct val="75000"/>
            </a:pPr>
            <a:r>
              <a:rPr lang="en-US" sz="726" kern="0" dirty="0">
                <a:solidFill>
                  <a:srgbClr val="646464"/>
                </a:solidFill>
              </a:rPr>
              <a:t>Transaction Real Estate</a:t>
            </a:r>
          </a:p>
        </p:txBody>
      </p:sp>
      <p:sp>
        <p:nvSpPr>
          <p:cNvPr id="53" name="Rectangle 22"/>
          <p:cNvSpPr>
            <a:spLocks noChangeArrowheads="1"/>
          </p:cNvSpPr>
          <p:nvPr/>
        </p:nvSpPr>
        <p:spPr bwMode="gray">
          <a:xfrm>
            <a:off x="8927007" y="4169884"/>
            <a:ext cx="668903" cy="335092"/>
          </a:xfrm>
          <a:prstGeom prst="rect">
            <a:avLst/>
          </a:prstGeom>
          <a:noFill/>
          <a:ln w="9525" algn="ctr">
            <a:noFill/>
            <a:miter lim="800000"/>
            <a:headEnd/>
            <a:tailEnd/>
          </a:ln>
        </p:spPr>
        <p:txBody>
          <a:bodyPr wrap="square" lIns="0" tIns="0" rIns="0" bIns="0" anchor="ctr">
            <a:spAutoFit/>
          </a:bodyPr>
          <a:lstStyle/>
          <a:p>
            <a:pPr algn="ctr" defTabSz="945061" eaLnBrk="0" fontAlgn="base" hangingPunct="0">
              <a:spcBef>
                <a:spcPct val="0"/>
              </a:spcBef>
              <a:spcAft>
                <a:spcPct val="50000"/>
              </a:spcAft>
              <a:buClr>
                <a:srgbClr val="F2F2F2"/>
              </a:buClr>
              <a:buSzPct val="75000"/>
            </a:pPr>
            <a:r>
              <a:rPr lang="en-US" sz="726" kern="0" dirty="0">
                <a:solidFill>
                  <a:srgbClr val="646464"/>
                </a:solidFill>
              </a:rPr>
              <a:t>Valuation &amp; Business Modelling</a:t>
            </a:r>
          </a:p>
        </p:txBody>
      </p:sp>
      <p:sp>
        <p:nvSpPr>
          <p:cNvPr id="54" name="Rectangle 23"/>
          <p:cNvSpPr>
            <a:spLocks noChangeArrowheads="1"/>
          </p:cNvSpPr>
          <p:nvPr/>
        </p:nvSpPr>
        <p:spPr bwMode="gray">
          <a:xfrm>
            <a:off x="7508714" y="4252767"/>
            <a:ext cx="605229" cy="111697"/>
          </a:xfrm>
          <a:prstGeom prst="rect">
            <a:avLst/>
          </a:prstGeom>
          <a:noFill/>
          <a:ln w="9525" algn="ctr">
            <a:noFill/>
            <a:miter lim="800000"/>
            <a:headEnd/>
            <a:tailEnd/>
          </a:ln>
        </p:spPr>
        <p:txBody>
          <a:bodyPr lIns="0" tIns="0" rIns="0" bIns="0" anchor="ctr">
            <a:spAutoFit/>
          </a:bodyPr>
          <a:lstStyle/>
          <a:p>
            <a:pPr algn="ctr" defTabSz="945061" eaLnBrk="0" fontAlgn="base" hangingPunct="0">
              <a:spcBef>
                <a:spcPct val="0"/>
              </a:spcBef>
              <a:spcAft>
                <a:spcPct val="50000"/>
              </a:spcAft>
              <a:buClr>
                <a:srgbClr val="F2F2F2"/>
              </a:buClr>
              <a:buSzPct val="75000"/>
            </a:pPr>
            <a:r>
              <a:rPr lang="en-US" sz="726" kern="0" dirty="0">
                <a:solidFill>
                  <a:srgbClr val="646464"/>
                </a:solidFill>
              </a:rPr>
              <a:t>Restructuring</a:t>
            </a:r>
          </a:p>
        </p:txBody>
      </p:sp>
      <p:sp>
        <p:nvSpPr>
          <p:cNvPr id="55" name="Rectangle 21"/>
          <p:cNvSpPr>
            <a:spLocks noChangeArrowheads="1"/>
          </p:cNvSpPr>
          <p:nvPr/>
        </p:nvSpPr>
        <p:spPr bwMode="gray">
          <a:xfrm>
            <a:off x="8887458" y="4647617"/>
            <a:ext cx="592415" cy="223394"/>
          </a:xfrm>
          <a:prstGeom prst="rect">
            <a:avLst/>
          </a:prstGeom>
          <a:noFill/>
          <a:ln w="9525" algn="ctr">
            <a:noFill/>
            <a:miter lim="800000"/>
            <a:headEnd/>
            <a:tailEnd/>
          </a:ln>
        </p:spPr>
        <p:txBody>
          <a:bodyPr wrap="square" lIns="0" tIns="0" rIns="0" bIns="0" anchor="ctr">
            <a:spAutoFit/>
          </a:bodyPr>
          <a:lstStyle/>
          <a:p>
            <a:pPr algn="ctr" defTabSz="945061" eaLnBrk="0" fontAlgn="base" hangingPunct="0">
              <a:spcBef>
                <a:spcPct val="0"/>
              </a:spcBef>
              <a:spcAft>
                <a:spcPct val="50000"/>
              </a:spcAft>
              <a:buClr>
                <a:srgbClr val="F2F2F2"/>
              </a:buClr>
              <a:buSzPct val="75000"/>
            </a:pPr>
            <a:r>
              <a:rPr lang="en-US" sz="726" kern="0" dirty="0">
                <a:solidFill>
                  <a:srgbClr val="646464"/>
                </a:solidFill>
              </a:rPr>
              <a:t>Capital &amp; Debt Advisory</a:t>
            </a:r>
          </a:p>
        </p:txBody>
      </p:sp>
      <p:sp>
        <p:nvSpPr>
          <p:cNvPr id="56" name="Line 15"/>
          <p:cNvSpPr>
            <a:spLocks noChangeShapeType="1"/>
          </p:cNvSpPr>
          <p:nvPr/>
        </p:nvSpPr>
        <p:spPr bwMode="auto">
          <a:xfrm rot="1200000" flipH="1">
            <a:off x="8728248" y="3382854"/>
            <a:ext cx="8595" cy="1079909"/>
          </a:xfrm>
          <a:prstGeom prst="line">
            <a:avLst/>
          </a:prstGeom>
          <a:noFill/>
          <a:ln w="9525">
            <a:solidFill>
              <a:srgbClr val="FFFFFF"/>
            </a:solidFill>
            <a:round/>
            <a:headEnd/>
            <a:tailEnd/>
          </a:ln>
        </p:spPr>
        <p:txBody>
          <a:bodyPr lIns="82932" tIns="41466" rIns="82932" bIns="41466"/>
          <a:lstStyle/>
          <a:p>
            <a:pPr algn="ctr" defTabSz="828545" eaLnBrk="0" fontAlgn="base" hangingPunct="0">
              <a:spcBef>
                <a:spcPct val="0"/>
              </a:spcBef>
              <a:spcAft>
                <a:spcPct val="50000"/>
              </a:spcAft>
              <a:buClr>
                <a:srgbClr val="FFE600"/>
              </a:buClr>
              <a:buSzPct val="80000"/>
            </a:pPr>
            <a:endParaRPr lang="en-US" sz="726" kern="0" dirty="0">
              <a:solidFill>
                <a:srgbClr val="646464"/>
              </a:solidFill>
            </a:endParaRPr>
          </a:p>
        </p:txBody>
      </p:sp>
      <p:sp>
        <p:nvSpPr>
          <p:cNvPr id="57" name="Line 15"/>
          <p:cNvSpPr>
            <a:spLocks noChangeShapeType="1"/>
          </p:cNvSpPr>
          <p:nvPr/>
        </p:nvSpPr>
        <p:spPr bwMode="auto">
          <a:xfrm rot="3600000" flipH="1">
            <a:off x="9000505" y="3633789"/>
            <a:ext cx="11314" cy="1052408"/>
          </a:xfrm>
          <a:prstGeom prst="line">
            <a:avLst/>
          </a:prstGeom>
          <a:noFill/>
          <a:ln w="9525">
            <a:solidFill>
              <a:srgbClr val="FFFFFF"/>
            </a:solidFill>
            <a:round/>
            <a:headEnd/>
            <a:tailEnd/>
          </a:ln>
        </p:spPr>
        <p:txBody>
          <a:bodyPr lIns="82932" tIns="41466" rIns="82932" bIns="41466"/>
          <a:lstStyle/>
          <a:p>
            <a:pPr algn="ctr" defTabSz="828545" eaLnBrk="0" fontAlgn="base" hangingPunct="0">
              <a:spcBef>
                <a:spcPct val="0"/>
              </a:spcBef>
              <a:spcAft>
                <a:spcPct val="50000"/>
              </a:spcAft>
              <a:buClr>
                <a:srgbClr val="FFE600"/>
              </a:buClr>
              <a:buSzPct val="80000"/>
            </a:pPr>
            <a:endParaRPr lang="en-US" sz="726" kern="0" dirty="0">
              <a:solidFill>
                <a:srgbClr val="646464"/>
              </a:solidFill>
            </a:endParaRPr>
          </a:p>
        </p:txBody>
      </p:sp>
      <p:sp>
        <p:nvSpPr>
          <p:cNvPr id="58" name="Line 15"/>
          <p:cNvSpPr>
            <a:spLocks noChangeShapeType="1"/>
          </p:cNvSpPr>
          <p:nvPr/>
        </p:nvSpPr>
        <p:spPr bwMode="auto">
          <a:xfrm flipH="1">
            <a:off x="8538463" y="4429958"/>
            <a:ext cx="9220" cy="1069763"/>
          </a:xfrm>
          <a:prstGeom prst="line">
            <a:avLst/>
          </a:prstGeom>
          <a:noFill/>
          <a:ln w="9525">
            <a:solidFill>
              <a:srgbClr val="FFFFFF"/>
            </a:solidFill>
            <a:round/>
            <a:headEnd/>
            <a:tailEnd/>
          </a:ln>
        </p:spPr>
        <p:txBody>
          <a:bodyPr lIns="82932" tIns="41466" rIns="82932" bIns="41466"/>
          <a:lstStyle/>
          <a:p>
            <a:pPr algn="ctr" defTabSz="828545" eaLnBrk="0" fontAlgn="base" hangingPunct="0">
              <a:spcBef>
                <a:spcPct val="0"/>
              </a:spcBef>
              <a:spcAft>
                <a:spcPct val="50000"/>
              </a:spcAft>
              <a:buClr>
                <a:srgbClr val="FFE600"/>
              </a:buClr>
              <a:buSzPct val="80000"/>
            </a:pPr>
            <a:endParaRPr lang="en-US" sz="726" kern="0" dirty="0">
              <a:solidFill>
                <a:srgbClr val="646464"/>
              </a:solidFill>
            </a:endParaRPr>
          </a:p>
        </p:txBody>
      </p:sp>
      <p:sp>
        <p:nvSpPr>
          <p:cNvPr id="59" name="Line 15"/>
          <p:cNvSpPr>
            <a:spLocks noChangeShapeType="1"/>
          </p:cNvSpPr>
          <p:nvPr/>
        </p:nvSpPr>
        <p:spPr bwMode="auto">
          <a:xfrm rot="6000000" flipH="1">
            <a:off x="9059835" y="3996017"/>
            <a:ext cx="11576" cy="1053855"/>
          </a:xfrm>
          <a:prstGeom prst="line">
            <a:avLst/>
          </a:prstGeom>
          <a:noFill/>
          <a:ln w="9525">
            <a:solidFill>
              <a:srgbClr val="FFFFFF"/>
            </a:solidFill>
            <a:round/>
            <a:headEnd/>
            <a:tailEnd/>
          </a:ln>
        </p:spPr>
        <p:txBody>
          <a:bodyPr lIns="82932" tIns="41466" rIns="82932" bIns="41466"/>
          <a:lstStyle/>
          <a:p>
            <a:pPr algn="ctr" defTabSz="828545" eaLnBrk="0" fontAlgn="base" hangingPunct="0">
              <a:spcBef>
                <a:spcPct val="0"/>
              </a:spcBef>
              <a:spcAft>
                <a:spcPct val="50000"/>
              </a:spcAft>
              <a:buClr>
                <a:srgbClr val="FFE600"/>
              </a:buClr>
              <a:buSzPct val="80000"/>
            </a:pPr>
            <a:endParaRPr lang="en-US" sz="726" kern="0" dirty="0">
              <a:solidFill>
                <a:srgbClr val="646464"/>
              </a:solidFill>
            </a:endParaRPr>
          </a:p>
        </p:txBody>
      </p:sp>
      <p:sp>
        <p:nvSpPr>
          <p:cNvPr id="60" name="Line 15"/>
          <p:cNvSpPr>
            <a:spLocks noChangeShapeType="1"/>
          </p:cNvSpPr>
          <p:nvPr/>
        </p:nvSpPr>
        <p:spPr bwMode="auto">
          <a:xfrm rot="20400000" flipH="1">
            <a:off x="8366856" y="3376436"/>
            <a:ext cx="10002" cy="1078123"/>
          </a:xfrm>
          <a:prstGeom prst="line">
            <a:avLst/>
          </a:prstGeom>
          <a:noFill/>
          <a:ln w="9525">
            <a:solidFill>
              <a:srgbClr val="FFFFFF"/>
            </a:solidFill>
            <a:round/>
            <a:headEnd/>
            <a:tailEnd/>
          </a:ln>
        </p:spPr>
        <p:txBody>
          <a:bodyPr lIns="82932" tIns="41466" rIns="82932" bIns="41466"/>
          <a:lstStyle/>
          <a:p>
            <a:pPr algn="ctr" defTabSz="828545" eaLnBrk="0" fontAlgn="base" hangingPunct="0">
              <a:spcBef>
                <a:spcPct val="0"/>
              </a:spcBef>
              <a:spcAft>
                <a:spcPct val="50000"/>
              </a:spcAft>
              <a:buClr>
                <a:srgbClr val="FFE600"/>
              </a:buClr>
              <a:buSzPct val="80000"/>
            </a:pPr>
            <a:endParaRPr lang="en-US" sz="726" kern="0" dirty="0">
              <a:solidFill>
                <a:srgbClr val="646464"/>
              </a:solidFill>
            </a:endParaRPr>
          </a:p>
        </p:txBody>
      </p:sp>
      <p:sp>
        <p:nvSpPr>
          <p:cNvPr id="61" name="Line 15"/>
          <p:cNvSpPr>
            <a:spLocks noChangeShapeType="1"/>
          </p:cNvSpPr>
          <p:nvPr/>
        </p:nvSpPr>
        <p:spPr bwMode="auto">
          <a:xfrm rot="8400000" flipH="1">
            <a:off x="8877044" y="4300967"/>
            <a:ext cx="9219" cy="1075919"/>
          </a:xfrm>
          <a:prstGeom prst="line">
            <a:avLst/>
          </a:prstGeom>
          <a:noFill/>
          <a:ln w="9525">
            <a:solidFill>
              <a:srgbClr val="FFFFFF"/>
            </a:solidFill>
            <a:round/>
            <a:headEnd/>
            <a:tailEnd/>
          </a:ln>
        </p:spPr>
        <p:txBody>
          <a:bodyPr lIns="82932" tIns="41466" rIns="82932" bIns="41466"/>
          <a:lstStyle/>
          <a:p>
            <a:pPr algn="ctr" defTabSz="828545" eaLnBrk="0" fontAlgn="base" hangingPunct="0">
              <a:spcBef>
                <a:spcPct val="0"/>
              </a:spcBef>
              <a:spcAft>
                <a:spcPct val="50000"/>
              </a:spcAft>
              <a:buClr>
                <a:srgbClr val="FFE600"/>
              </a:buClr>
              <a:buSzPct val="80000"/>
            </a:pPr>
            <a:endParaRPr lang="en-US" sz="726" kern="0" dirty="0">
              <a:solidFill>
                <a:srgbClr val="646464"/>
              </a:solidFill>
            </a:endParaRPr>
          </a:p>
        </p:txBody>
      </p:sp>
      <p:sp>
        <p:nvSpPr>
          <p:cNvPr id="62" name="Line 15"/>
          <p:cNvSpPr>
            <a:spLocks noChangeShapeType="1"/>
          </p:cNvSpPr>
          <p:nvPr/>
        </p:nvSpPr>
        <p:spPr bwMode="auto">
          <a:xfrm rot="18000000" flipH="1">
            <a:off x="8089113" y="3623999"/>
            <a:ext cx="9413" cy="1053484"/>
          </a:xfrm>
          <a:prstGeom prst="line">
            <a:avLst/>
          </a:prstGeom>
          <a:noFill/>
          <a:ln w="9525">
            <a:solidFill>
              <a:srgbClr val="FFFFFF"/>
            </a:solidFill>
            <a:round/>
            <a:headEnd/>
            <a:tailEnd/>
          </a:ln>
        </p:spPr>
        <p:txBody>
          <a:bodyPr lIns="82932" tIns="41466" rIns="82932" bIns="41466"/>
          <a:lstStyle/>
          <a:p>
            <a:pPr algn="ctr" defTabSz="828545" eaLnBrk="0" fontAlgn="base" hangingPunct="0">
              <a:spcBef>
                <a:spcPct val="0"/>
              </a:spcBef>
              <a:spcAft>
                <a:spcPct val="50000"/>
              </a:spcAft>
              <a:buClr>
                <a:srgbClr val="FFE600"/>
              </a:buClr>
              <a:buSzPct val="80000"/>
            </a:pPr>
            <a:endParaRPr lang="en-US" sz="726" kern="0" dirty="0">
              <a:solidFill>
                <a:srgbClr val="646464"/>
              </a:solidFill>
            </a:endParaRPr>
          </a:p>
        </p:txBody>
      </p:sp>
      <p:sp>
        <p:nvSpPr>
          <p:cNvPr id="63" name="Line 15"/>
          <p:cNvSpPr>
            <a:spLocks noChangeShapeType="1"/>
          </p:cNvSpPr>
          <p:nvPr/>
        </p:nvSpPr>
        <p:spPr bwMode="auto">
          <a:xfrm rot="15600000" flipH="1">
            <a:off x="8021856" y="3984497"/>
            <a:ext cx="12578" cy="1052941"/>
          </a:xfrm>
          <a:prstGeom prst="line">
            <a:avLst/>
          </a:prstGeom>
          <a:noFill/>
          <a:ln w="9525">
            <a:solidFill>
              <a:srgbClr val="FFFFFF"/>
            </a:solidFill>
            <a:round/>
            <a:headEnd/>
            <a:tailEnd/>
          </a:ln>
        </p:spPr>
        <p:txBody>
          <a:bodyPr lIns="82932" tIns="41466" rIns="82932" bIns="41466"/>
          <a:lstStyle/>
          <a:p>
            <a:pPr algn="ctr" defTabSz="828545" eaLnBrk="0" fontAlgn="base" hangingPunct="0">
              <a:spcBef>
                <a:spcPct val="0"/>
              </a:spcBef>
              <a:spcAft>
                <a:spcPct val="50000"/>
              </a:spcAft>
              <a:buClr>
                <a:srgbClr val="FFE600"/>
              </a:buClr>
              <a:buSzPct val="80000"/>
            </a:pPr>
            <a:endParaRPr lang="en-US" sz="726" kern="0" dirty="0">
              <a:solidFill>
                <a:srgbClr val="646464"/>
              </a:solidFill>
            </a:endParaRPr>
          </a:p>
        </p:txBody>
      </p:sp>
      <p:sp>
        <p:nvSpPr>
          <p:cNvPr id="64" name="Line 15"/>
          <p:cNvSpPr>
            <a:spLocks noChangeShapeType="1"/>
          </p:cNvSpPr>
          <p:nvPr/>
        </p:nvSpPr>
        <p:spPr bwMode="auto">
          <a:xfrm rot="13200000" flipH="1">
            <a:off x="8204221" y="4296121"/>
            <a:ext cx="7535" cy="1070284"/>
          </a:xfrm>
          <a:prstGeom prst="line">
            <a:avLst/>
          </a:prstGeom>
          <a:noFill/>
          <a:ln w="9525">
            <a:solidFill>
              <a:srgbClr val="FFFFFF"/>
            </a:solidFill>
            <a:round/>
            <a:headEnd/>
            <a:tailEnd/>
          </a:ln>
        </p:spPr>
        <p:txBody>
          <a:bodyPr lIns="82932" tIns="41466" rIns="82932" bIns="41466"/>
          <a:lstStyle/>
          <a:p>
            <a:pPr algn="ctr" defTabSz="828545" eaLnBrk="0" fontAlgn="base" hangingPunct="0">
              <a:spcBef>
                <a:spcPct val="0"/>
              </a:spcBef>
              <a:spcAft>
                <a:spcPct val="50000"/>
              </a:spcAft>
              <a:buClr>
                <a:srgbClr val="FFE600"/>
              </a:buClr>
              <a:buSzPct val="80000"/>
            </a:pPr>
            <a:endParaRPr lang="en-US" sz="726" kern="0" dirty="0">
              <a:solidFill>
                <a:srgbClr val="646464"/>
              </a:solidFill>
            </a:endParaRPr>
          </a:p>
        </p:txBody>
      </p:sp>
      <p:sp>
        <p:nvSpPr>
          <p:cNvPr id="65" name="Rectangle 25"/>
          <p:cNvSpPr>
            <a:spLocks noChangeArrowheads="1"/>
          </p:cNvSpPr>
          <p:nvPr/>
        </p:nvSpPr>
        <p:spPr bwMode="gray">
          <a:xfrm>
            <a:off x="8816832" y="3709595"/>
            <a:ext cx="523203" cy="223394"/>
          </a:xfrm>
          <a:prstGeom prst="rect">
            <a:avLst/>
          </a:prstGeom>
          <a:noFill/>
          <a:ln w="9525" algn="ctr">
            <a:noFill/>
            <a:miter lim="800000"/>
            <a:headEnd/>
            <a:tailEnd/>
          </a:ln>
        </p:spPr>
        <p:txBody>
          <a:bodyPr lIns="0" tIns="0" rIns="0" bIns="0" anchor="ctr">
            <a:spAutoFit/>
          </a:bodyPr>
          <a:lstStyle/>
          <a:p>
            <a:pPr algn="ctr" defTabSz="945061" eaLnBrk="0" fontAlgn="base" hangingPunct="0">
              <a:spcBef>
                <a:spcPct val="50000"/>
              </a:spcBef>
              <a:spcAft>
                <a:spcPct val="0"/>
              </a:spcAft>
              <a:buClr>
                <a:srgbClr val="F2F2F2"/>
              </a:buClr>
              <a:buSzPct val="75000"/>
            </a:pPr>
            <a:r>
              <a:rPr lang="en-US" sz="726" kern="0" dirty="0">
                <a:solidFill>
                  <a:srgbClr val="646464"/>
                </a:solidFill>
              </a:rPr>
              <a:t>Mergers &amp; Acquisitions</a:t>
            </a:r>
          </a:p>
        </p:txBody>
      </p:sp>
      <p:sp>
        <p:nvSpPr>
          <p:cNvPr id="66" name="Oval 37"/>
          <p:cNvSpPr>
            <a:spLocks noChangeArrowheads="1"/>
          </p:cNvSpPr>
          <p:nvPr/>
        </p:nvSpPr>
        <p:spPr bwMode="gray">
          <a:xfrm>
            <a:off x="8211576" y="4085072"/>
            <a:ext cx="672219" cy="685803"/>
          </a:xfrm>
          <a:prstGeom prst="ellipse">
            <a:avLst/>
          </a:prstGeom>
          <a:solidFill>
            <a:schemeClr val="accent1"/>
          </a:solidFill>
          <a:ln w="9525" algn="ctr">
            <a:solidFill>
              <a:srgbClr val="FFFFFF"/>
            </a:solidFill>
            <a:round/>
            <a:headEnd/>
            <a:tailEnd/>
          </a:ln>
        </p:spPr>
        <p:txBody>
          <a:bodyPr wrap="none" lIns="0" tIns="0" rIns="0" bIns="0" anchor="b"/>
          <a:lstStyle/>
          <a:p>
            <a:pPr algn="ctr" defTabSz="945061" eaLnBrk="0" fontAlgn="base" hangingPunct="0">
              <a:spcBef>
                <a:spcPct val="0"/>
              </a:spcBef>
              <a:spcAft>
                <a:spcPct val="0"/>
              </a:spcAft>
              <a:buClr>
                <a:srgbClr val="F2F2F2"/>
              </a:buClr>
              <a:buSzPct val="75000"/>
            </a:pPr>
            <a:r>
              <a:rPr lang="en-US" sz="816" b="1" kern="0" dirty="0">
                <a:solidFill>
                  <a:srgbClr val="FFFFFF"/>
                </a:solidFill>
              </a:rPr>
              <a:t>Trans-</a:t>
            </a:r>
            <a:br>
              <a:rPr lang="en-US" sz="816" b="1" kern="0" dirty="0">
                <a:solidFill>
                  <a:srgbClr val="FFFFFF"/>
                </a:solidFill>
              </a:rPr>
            </a:br>
            <a:r>
              <a:rPr lang="en-US" sz="816" b="1" kern="0" dirty="0">
                <a:solidFill>
                  <a:srgbClr val="FFFFFF"/>
                </a:solidFill>
              </a:rPr>
              <a:t>action</a:t>
            </a:r>
          </a:p>
          <a:p>
            <a:pPr algn="ctr" defTabSz="945061" eaLnBrk="0" fontAlgn="base" hangingPunct="0">
              <a:spcBef>
                <a:spcPct val="0"/>
              </a:spcBef>
              <a:spcAft>
                <a:spcPct val="0"/>
              </a:spcAft>
              <a:buClr>
                <a:srgbClr val="F2F2F2"/>
              </a:buClr>
              <a:buSzPct val="75000"/>
            </a:pPr>
            <a:r>
              <a:rPr lang="en-US" sz="816" b="1" kern="0" dirty="0">
                <a:solidFill>
                  <a:srgbClr val="FFFFFF"/>
                </a:solidFill>
              </a:rPr>
              <a:t>Advisory</a:t>
            </a:r>
          </a:p>
          <a:p>
            <a:pPr algn="ctr" defTabSz="945061" eaLnBrk="0" fontAlgn="base" hangingPunct="0">
              <a:spcBef>
                <a:spcPct val="0"/>
              </a:spcBef>
              <a:spcAft>
                <a:spcPct val="0"/>
              </a:spcAft>
              <a:buClr>
                <a:srgbClr val="F2F2F2"/>
              </a:buClr>
              <a:buSzPct val="75000"/>
            </a:pPr>
            <a:r>
              <a:rPr lang="en-US" sz="816" b="1" kern="0" dirty="0">
                <a:solidFill>
                  <a:srgbClr val="FFFFFF"/>
                </a:solidFill>
              </a:rPr>
              <a:t>Services</a:t>
            </a:r>
          </a:p>
        </p:txBody>
      </p:sp>
      <p:sp>
        <p:nvSpPr>
          <p:cNvPr id="67" name="Oval 11"/>
          <p:cNvSpPr>
            <a:spLocks noChangeArrowheads="1"/>
          </p:cNvSpPr>
          <p:nvPr/>
        </p:nvSpPr>
        <p:spPr bwMode="auto">
          <a:xfrm>
            <a:off x="7480844" y="3338301"/>
            <a:ext cx="2133130" cy="2178565"/>
          </a:xfrm>
          <a:prstGeom prst="ellipse">
            <a:avLst/>
          </a:prstGeom>
          <a:noFill/>
          <a:ln w="9525">
            <a:solidFill>
              <a:schemeClr val="tx2"/>
            </a:solidFill>
            <a:round/>
            <a:headEnd/>
            <a:tailEnd/>
          </a:ln>
        </p:spPr>
        <p:txBody>
          <a:bodyPr wrap="none" lIns="82932" tIns="41466" rIns="82932" bIns="41466" anchor="ctr"/>
          <a:lstStyle/>
          <a:p>
            <a:pPr algn="ctr" defTabSz="828545" eaLnBrk="0" fontAlgn="base" hangingPunct="0">
              <a:spcBef>
                <a:spcPct val="0"/>
              </a:spcBef>
              <a:spcAft>
                <a:spcPct val="50000"/>
              </a:spcAft>
              <a:buClr>
                <a:srgbClr val="FFE600"/>
              </a:buClr>
              <a:buSzPct val="80000"/>
            </a:pPr>
            <a:endParaRPr lang="en-US" sz="726" kern="0" dirty="0">
              <a:solidFill>
                <a:srgbClr val="646464"/>
              </a:solidFill>
            </a:endParaRPr>
          </a:p>
        </p:txBody>
      </p:sp>
      <p:cxnSp>
        <p:nvCxnSpPr>
          <p:cNvPr id="68" name="Elbow Connector 67"/>
          <p:cNvCxnSpPr>
            <a:stCxn id="45" idx="2"/>
            <a:endCxn id="42" idx="0"/>
          </p:cNvCxnSpPr>
          <p:nvPr/>
        </p:nvCxnSpPr>
        <p:spPr>
          <a:xfrm rot="5400000">
            <a:off x="7701462" y="1734704"/>
            <a:ext cx="239131" cy="1354258"/>
          </a:xfrm>
          <a:prstGeom prst="bentConnector3">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Elbow Connector 68"/>
          <p:cNvCxnSpPr>
            <a:stCxn id="45" idx="2"/>
            <a:endCxn id="43" idx="0"/>
          </p:cNvCxnSpPr>
          <p:nvPr/>
        </p:nvCxnSpPr>
        <p:spPr>
          <a:xfrm rot="5400000">
            <a:off x="8153340" y="2186582"/>
            <a:ext cx="239131" cy="450502"/>
          </a:xfrm>
          <a:prstGeom prst="bentConnector3">
            <a:avLst>
              <a:gd name="adj1" fmla="val 50000"/>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69"/>
          <p:cNvCxnSpPr>
            <a:stCxn id="45" idx="2"/>
            <a:endCxn id="41" idx="0"/>
          </p:cNvCxnSpPr>
          <p:nvPr/>
        </p:nvCxnSpPr>
        <p:spPr>
          <a:xfrm rot="16200000" flipH="1">
            <a:off x="8604759" y="2185664"/>
            <a:ext cx="239131" cy="452337"/>
          </a:xfrm>
          <a:prstGeom prst="bentConnector3">
            <a:avLst>
              <a:gd name="adj1" fmla="val 50000"/>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Elbow Connector 70"/>
          <p:cNvCxnSpPr>
            <a:stCxn id="45" idx="2"/>
            <a:endCxn id="44" idx="0"/>
          </p:cNvCxnSpPr>
          <p:nvPr/>
        </p:nvCxnSpPr>
        <p:spPr>
          <a:xfrm rot="16200000" flipH="1">
            <a:off x="9056179" y="1734245"/>
            <a:ext cx="239131" cy="1355176"/>
          </a:xfrm>
          <a:prstGeom prst="bentConnector3">
            <a:avLst>
              <a:gd name="adj1" fmla="val 50000"/>
            </a:avLst>
          </a:prstGeom>
          <a:ln w="127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72" name="Rectangle 8"/>
          <p:cNvSpPr>
            <a:spLocks noChangeArrowheads="1"/>
          </p:cNvSpPr>
          <p:nvPr/>
        </p:nvSpPr>
        <p:spPr bwMode="auto">
          <a:xfrm>
            <a:off x="3951074" y="1495911"/>
            <a:ext cx="2707346" cy="396000"/>
          </a:xfrm>
          <a:prstGeom prst="rect">
            <a:avLst/>
          </a:prstGeom>
          <a:solidFill>
            <a:srgbClr val="808080"/>
          </a:solidFill>
          <a:ln/>
          <a:extLst/>
        </p:spPr>
        <p:txBody>
          <a:bodyPr wrap="none" lIns="0" tIns="0" rIns="0" bIns="0" rtlCol="0" anchor="ctr">
            <a:noAutofit/>
          </a:bodyPr>
          <a:lstStyle/>
          <a:p>
            <a:pPr algn="ctr" defTabSz="1010315" eaLnBrk="0" hangingPunct="0">
              <a:spcBef>
                <a:spcPct val="40000"/>
              </a:spcBef>
            </a:pPr>
            <a:r>
              <a:rPr lang="en-US" sz="1200" b="1" dirty="0">
                <a:solidFill>
                  <a:srgbClr val="FFFFFF"/>
                </a:solidFill>
                <a:cs typeface="Arial" panose="020B0604020202020204" pitchFamily="34" charset="0"/>
                <a:sym typeface="Arial" panose="020B0604020202020204" pitchFamily="34" charset="0"/>
              </a:rPr>
              <a:t>EY – a truly global firm</a:t>
            </a:r>
          </a:p>
        </p:txBody>
      </p:sp>
      <p:sp>
        <p:nvSpPr>
          <p:cNvPr id="73" name="Rectangle 8"/>
          <p:cNvSpPr>
            <a:spLocks noChangeArrowheads="1"/>
          </p:cNvSpPr>
          <p:nvPr/>
        </p:nvSpPr>
        <p:spPr bwMode="auto">
          <a:xfrm>
            <a:off x="6730967" y="1495911"/>
            <a:ext cx="3531976" cy="396000"/>
          </a:xfrm>
          <a:prstGeom prst="rect">
            <a:avLst/>
          </a:prstGeom>
          <a:solidFill>
            <a:srgbClr val="808080"/>
          </a:solidFill>
          <a:ln/>
          <a:extLst/>
        </p:spPr>
        <p:txBody>
          <a:bodyPr wrap="none" lIns="0" tIns="0" rIns="0" bIns="0" rtlCol="0" anchor="ctr">
            <a:noAutofit/>
          </a:bodyPr>
          <a:lstStyle/>
          <a:p>
            <a:pPr algn="ctr" defTabSz="1010315" eaLnBrk="0" hangingPunct="0">
              <a:spcBef>
                <a:spcPct val="40000"/>
              </a:spcBef>
            </a:pPr>
            <a:r>
              <a:rPr lang="en-US" sz="1200" b="1" dirty="0">
                <a:solidFill>
                  <a:srgbClr val="FFFFFF"/>
                </a:solidFill>
                <a:cs typeface="Arial" panose="020B0604020202020204" pitchFamily="34" charset="0"/>
                <a:sym typeface="Arial" panose="020B0604020202020204" pitchFamily="34" charset="0"/>
              </a:rPr>
              <a:t>Transaction Advisory Services</a:t>
            </a:r>
          </a:p>
        </p:txBody>
      </p:sp>
      <p:sp>
        <p:nvSpPr>
          <p:cNvPr id="74" name="Rectangle 8"/>
          <p:cNvSpPr>
            <a:spLocks noChangeArrowheads="1"/>
          </p:cNvSpPr>
          <p:nvPr/>
        </p:nvSpPr>
        <p:spPr bwMode="auto">
          <a:xfrm>
            <a:off x="3951074" y="3995861"/>
            <a:ext cx="2707346" cy="396000"/>
          </a:xfrm>
          <a:prstGeom prst="rect">
            <a:avLst/>
          </a:prstGeom>
          <a:solidFill>
            <a:schemeClr val="accent6"/>
          </a:solidFill>
          <a:ln/>
          <a:extLst/>
        </p:spPr>
        <p:txBody>
          <a:bodyPr wrap="none" lIns="0" tIns="0" rIns="0" bIns="0" rtlCol="0" anchor="ctr">
            <a:noAutofit/>
          </a:bodyPr>
          <a:lstStyle/>
          <a:p>
            <a:pPr algn="ctr" defTabSz="1010315" eaLnBrk="0" hangingPunct="0">
              <a:spcBef>
                <a:spcPct val="40000"/>
              </a:spcBef>
            </a:pPr>
            <a:r>
              <a:rPr lang="en-US" sz="1200" b="1" dirty="0">
                <a:solidFill>
                  <a:schemeClr val="bg1"/>
                </a:solidFill>
                <a:cs typeface="Arial" panose="020B0604020202020204" pitchFamily="34" charset="0"/>
                <a:sym typeface="Arial" panose="020B0604020202020204" pitchFamily="34" charset="0"/>
              </a:rPr>
              <a:t>EY Transaction Advisory Services</a:t>
            </a:r>
          </a:p>
        </p:txBody>
      </p:sp>
      <p:pic>
        <p:nvPicPr>
          <p:cNvPr id="75" name="Picture 74"/>
          <p:cNvPicPr>
            <a:picLocks noChangeAspect="1"/>
          </p:cNvPicPr>
          <p:nvPr/>
        </p:nvPicPr>
        <p:blipFill rotWithShape="1">
          <a:blip r:embed="rId4">
            <a:grayscl/>
          </a:blip>
          <a:srcRect l="2278" t="7998" r="10059" b="4339"/>
          <a:stretch/>
        </p:blipFill>
        <p:spPr>
          <a:xfrm>
            <a:off x="512786" y="2248837"/>
            <a:ext cx="1080744" cy="1385570"/>
          </a:xfrm>
          <a:prstGeom prst="rect">
            <a:avLst/>
          </a:prstGeom>
        </p:spPr>
      </p:pic>
      <p:sp>
        <p:nvSpPr>
          <p:cNvPr id="76" name="Rectangle 75"/>
          <p:cNvSpPr/>
          <p:nvPr/>
        </p:nvSpPr>
        <p:spPr>
          <a:xfrm>
            <a:off x="1633851" y="2205016"/>
            <a:ext cx="2114893" cy="2226654"/>
          </a:xfrm>
          <a:prstGeom prst="rect">
            <a:avLst/>
          </a:prstGeom>
        </p:spPr>
        <p:txBody>
          <a:bodyPr wrap="square" lIns="82909" tIns="41454" rIns="82909" bIns="41454" anchor="ctr">
            <a:noAutofit/>
          </a:bodyPr>
          <a:lstStyle/>
          <a:p>
            <a:pPr marL="0" lvl="1" defTabSz="945204" eaLnBrk="0" fontAlgn="base" hangingPunct="0">
              <a:spcBef>
                <a:spcPct val="0"/>
              </a:spcBef>
              <a:spcAft>
                <a:spcPct val="0"/>
              </a:spcAft>
              <a:buClr>
                <a:srgbClr val="FFE600"/>
              </a:buClr>
              <a:buSzPct val="80000"/>
            </a:pPr>
            <a:r>
              <a:rPr lang="en-US" sz="1200" b="1" kern="0" dirty="0">
                <a:solidFill>
                  <a:schemeClr val="bg1"/>
                </a:solidFill>
                <a:cs typeface="Arial"/>
              </a:rPr>
              <a:t>Urs Indermühle</a:t>
            </a:r>
          </a:p>
          <a:p>
            <a:pPr marL="0" lvl="1" defTabSz="945204" eaLnBrk="0" fontAlgn="base" hangingPunct="0">
              <a:spcBef>
                <a:spcPct val="0"/>
              </a:spcBef>
              <a:spcAft>
                <a:spcPct val="0"/>
              </a:spcAft>
              <a:buClr>
                <a:srgbClr val="FFE600"/>
              </a:buClr>
              <a:buSzPct val="80000"/>
            </a:pPr>
            <a:endParaRPr lang="en-US" sz="1200" kern="0" dirty="0">
              <a:solidFill>
                <a:schemeClr val="bg1"/>
              </a:solidFill>
              <a:cs typeface="Arial"/>
            </a:endParaRPr>
          </a:p>
          <a:p>
            <a:pPr marL="0" lvl="1" defTabSz="945204" eaLnBrk="0" fontAlgn="base" hangingPunct="0">
              <a:spcBef>
                <a:spcPct val="0"/>
              </a:spcBef>
              <a:spcAft>
                <a:spcPct val="0"/>
              </a:spcAft>
              <a:buClr>
                <a:srgbClr val="FFE600"/>
              </a:buClr>
              <a:buSzPct val="80000"/>
            </a:pPr>
            <a:r>
              <a:rPr lang="en-US" sz="1200" kern="0" dirty="0">
                <a:solidFill>
                  <a:schemeClr val="bg1"/>
                </a:solidFill>
                <a:cs typeface="Arial"/>
              </a:rPr>
              <a:t>Partner </a:t>
            </a:r>
            <a:r>
              <a:rPr lang="en-US" sz="1200" kern="0" dirty="0" err="1">
                <a:solidFill>
                  <a:schemeClr val="bg1"/>
                </a:solidFill>
                <a:cs typeface="Arial"/>
              </a:rPr>
              <a:t>bei</a:t>
            </a:r>
            <a:r>
              <a:rPr lang="en-US" sz="1200" kern="0" dirty="0">
                <a:solidFill>
                  <a:schemeClr val="bg1"/>
                </a:solidFill>
                <a:cs typeface="Arial"/>
              </a:rPr>
              <a:t> EY (Ernst &amp; Young)</a:t>
            </a:r>
          </a:p>
          <a:p>
            <a:pPr marL="0" lvl="1" defTabSz="945204" eaLnBrk="0" fontAlgn="base" hangingPunct="0">
              <a:spcBef>
                <a:spcPct val="0"/>
              </a:spcBef>
              <a:spcAft>
                <a:spcPct val="0"/>
              </a:spcAft>
              <a:buClr>
                <a:srgbClr val="FFE600"/>
              </a:buClr>
              <a:buSzPct val="80000"/>
            </a:pPr>
            <a:endParaRPr lang="en-US" sz="1200" kern="0" dirty="0">
              <a:solidFill>
                <a:schemeClr val="bg1"/>
              </a:solidFill>
              <a:cs typeface="Arial"/>
            </a:endParaRPr>
          </a:p>
          <a:p>
            <a:pPr marL="0" lvl="1" defTabSz="945204" eaLnBrk="0" fontAlgn="base" hangingPunct="0">
              <a:spcBef>
                <a:spcPct val="0"/>
              </a:spcBef>
              <a:spcAft>
                <a:spcPct val="0"/>
              </a:spcAft>
              <a:buClr>
                <a:srgbClr val="FFE600"/>
              </a:buClr>
              <a:buSzPct val="80000"/>
            </a:pPr>
            <a:r>
              <a:rPr lang="en-US" sz="1200" kern="0" dirty="0">
                <a:solidFill>
                  <a:schemeClr val="bg1"/>
                </a:solidFill>
                <a:cs typeface="Arial"/>
              </a:rPr>
              <a:t>Transaction Support und </a:t>
            </a:r>
          </a:p>
          <a:p>
            <a:pPr marL="0" lvl="1" defTabSz="945204" eaLnBrk="0" fontAlgn="base" hangingPunct="0">
              <a:spcBef>
                <a:spcPct val="0"/>
              </a:spcBef>
              <a:spcAft>
                <a:spcPct val="0"/>
              </a:spcAft>
              <a:buClr>
                <a:srgbClr val="FFE600"/>
              </a:buClr>
              <a:buSzPct val="80000"/>
            </a:pPr>
            <a:r>
              <a:rPr lang="en-US" sz="1200" kern="0" dirty="0" err="1">
                <a:solidFill>
                  <a:schemeClr val="bg1"/>
                </a:solidFill>
                <a:cs typeface="Arial"/>
              </a:rPr>
              <a:t>Sitzleiter</a:t>
            </a:r>
            <a:r>
              <a:rPr lang="en-US" sz="1200" kern="0" dirty="0">
                <a:solidFill>
                  <a:schemeClr val="bg1"/>
                </a:solidFill>
                <a:cs typeface="Arial"/>
              </a:rPr>
              <a:t> Basel </a:t>
            </a:r>
          </a:p>
          <a:p>
            <a:pPr marL="0" lvl="1" defTabSz="945204" eaLnBrk="0" fontAlgn="base" hangingPunct="0">
              <a:spcBef>
                <a:spcPct val="0"/>
              </a:spcBef>
              <a:spcAft>
                <a:spcPct val="0"/>
              </a:spcAft>
              <a:buClr>
                <a:srgbClr val="FFE600"/>
              </a:buClr>
              <a:buSzPct val="80000"/>
            </a:pPr>
            <a:endParaRPr lang="en-US" sz="1200" kern="0" dirty="0">
              <a:solidFill>
                <a:schemeClr val="bg1"/>
              </a:solidFill>
              <a:cs typeface="Arial"/>
            </a:endParaRPr>
          </a:p>
          <a:p>
            <a:pPr marL="0" lvl="1" defTabSz="945204" eaLnBrk="0" fontAlgn="base" hangingPunct="0">
              <a:spcBef>
                <a:spcPct val="0"/>
              </a:spcBef>
              <a:spcAft>
                <a:spcPct val="0"/>
              </a:spcAft>
              <a:buClr>
                <a:srgbClr val="FFE600"/>
              </a:buClr>
              <a:buSzPct val="80000"/>
            </a:pPr>
            <a:r>
              <a:rPr lang="en-US" sz="1200" kern="0" dirty="0">
                <a:solidFill>
                  <a:schemeClr val="bg1"/>
                </a:solidFill>
                <a:cs typeface="Arial"/>
              </a:rPr>
              <a:t>&gt;100+ </a:t>
            </a:r>
            <a:r>
              <a:rPr lang="en-US" sz="1200" kern="0" dirty="0" err="1">
                <a:solidFill>
                  <a:schemeClr val="bg1"/>
                </a:solidFill>
                <a:cs typeface="Arial"/>
              </a:rPr>
              <a:t>Transaktionen</a:t>
            </a:r>
            <a:r>
              <a:rPr lang="en-US" sz="1200" kern="0" dirty="0">
                <a:solidFill>
                  <a:schemeClr val="bg1"/>
                </a:solidFill>
                <a:cs typeface="Arial"/>
              </a:rPr>
              <a:t> in der </a:t>
            </a:r>
            <a:r>
              <a:rPr lang="en-US" sz="1200" kern="0" dirty="0" err="1">
                <a:solidFill>
                  <a:schemeClr val="bg1"/>
                </a:solidFill>
                <a:cs typeface="Arial"/>
              </a:rPr>
              <a:t>Schweiz</a:t>
            </a:r>
            <a:r>
              <a:rPr lang="en-US" sz="1200" kern="0" dirty="0">
                <a:solidFill>
                  <a:schemeClr val="bg1"/>
                </a:solidFill>
                <a:cs typeface="Arial"/>
              </a:rPr>
              <a:t> und Europa (</a:t>
            </a:r>
            <a:r>
              <a:rPr lang="en-US" sz="1200" kern="0" dirty="0" err="1">
                <a:solidFill>
                  <a:schemeClr val="bg1"/>
                </a:solidFill>
                <a:cs typeface="Arial"/>
              </a:rPr>
              <a:t>v.a.</a:t>
            </a:r>
            <a:r>
              <a:rPr lang="en-US" sz="1200" kern="0" dirty="0">
                <a:solidFill>
                  <a:schemeClr val="bg1"/>
                </a:solidFill>
                <a:cs typeface="Arial"/>
              </a:rPr>
              <a:t> </a:t>
            </a:r>
            <a:r>
              <a:rPr lang="en-US" sz="1200" kern="0" dirty="0" err="1">
                <a:solidFill>
                  <a:schemeClr val="bg1"/>
                </a:solidFill>
                <a:cs typeface="Arial"/>
              </a:rPr>
              <a:t>Osteuropa</a:t>
            </a:r>
            <a:r>
              <a:rPr lang="en-US" sz="1200" kern="0" dirty="0">
                <a:solidFill>
                  <a:schemeClr val="bg1"/>
                </a:solidFill>
                <a:cs typeface="Arial"/>
              </a:rPr>
              <a:t> und </a:t>
            </a:r>
            <a:r>
              <a:rPr lang="en-US" sz="1200" kern="0" dirty="0" err="1">
                <a:solidFill>
                  <a:schemeClr val="bg1"/>
                </a:solidFill>
                <a:cs typeface="Arial"/>
              </a:rPr>
              <a:t>Afrika</a:t>
            </a:r>
            <a:r>
              <a:rPr lang="en-US" sz="1200" kern="0" dirty="0">
                <a:solidFill>
                  <a:schemeClr val="bg1"/>
                </a:solidFill>
                <a:cs typeface="Arial"/>
              </a:rPr>
              <a:t>)</a:t>
            </a:r>
          </a:p>
          <a:p>
            <a:pPr marL="0" lvl="1" defTabSz="945204" eaLnBrk="0" fontAlgn="base" hangingPunct="0">
              <a:spcBef>
                <a:spcPct val="0"/>
              </a:spcBef>
              <a:spcAft>
                <a:spcPct val="0"/>
              </a:spcAft>
              <a:buClr>
                <a:srgbClr val="FFE600"/>
              </a:buClr>
              <a:buSzPct val="80000"/>
            </a:pPr>
            <a:endParaRPr lang="en-US" sz="1200" kern="0" dirty="0">
              <a:solidFill>
                <a:schemeClr val="bg1"/>
              </a:solidFill>
              <a:cs typeface="Arial"/>
            </a:endParaRPr>
          </a:p>
        </p:txBody>
      </p:sp>
    </p:spTree>
    <p:extLst>
      <p:ext uri="{BB962C8B-B14F-4D97-AF65-F5344CB8AC3E}">
        <p14:creationId xmlns:p14="http://schemas.microsoft.com/office/powerpoint/2010/main" val="16896840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M&amp;A Transaktionen sind fast täglich in unserer Presse zu finden… </a:t>
            </a:r>
          </a:p>
        </p:txBody>
      </p:sp>
      <p:sp>
        <p:nvSpPr>
          <p:cNvPr id="4" name="Date Placeholder 3"/>
          <p:cNvSpPr>
            <a:spLocks noGrp="1"/>
          </p:cNvSpPr>
          <p:nvPr>
            <p:ph type="dt" sz="half" idx="10"/>
          </p:nvPr>
        </p:nvSpPr>
        <p:spPr/>
        <p:txBody>
          <a:bodyPr/>
          <a:lstStyle/>
          <a:p>
            <a:fld id="{331920D8-7BBD-4173-8CCD-0777969364A1}"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dirty="0" err="1"/>
              <a:t>Unternehmenstransaktionen</a:t>
            </a:r>
            <a:r>
              <a:rPr lang="en-GB" dirty="0"/>
              <a:t> in der </a:t>
            </a:r>
            <a:r>
              <a:rPr lang="en-GB" dirty="0" err="1"/>
              <a:t>Schweiz</a:t>
            </a:r>
            <a:endParaRPr lang="en-GB" dirty="0"/>
          </a:p>
        </p:txBody>
      </p:sp>
      <p:pic>
        <p:nvPicPr>
          <p:cNvPr id="6" name="Picture 5"/>
          <p:cNvPicPr>
            <a:picLocks noChangeAspect="1"/>
          </p:cNvPicPr>
          <p:nvPr/>
        </p:nvPicPr>
        <p:blipFill rotWithShape="1">
          <a:blip r:embed="rId3"/>
          <a:srcRect t="21543" b="49813"/>
          <a:stretch/>
        </p:blipFill>
        <p:spPr>
          <a:xfrm>
            <a:off x="4997537" y="2406298"/>
            <a:ext cx="5268339" cy="657739"/>
          </a:xfrm>
          <a:prstGeom prst="rect">
            <a:avLst/>
          </a:prstGeom>
          <a:ln>
            <a:solidFill>
              <a:schemeClr val="bg2"/>
            </a:solidFill>
          </a:ln>
        </p:spPr>
      </p:pic>
      <p:pic>
        <p:nvPicPr>
          <p:cNvPr id="7" name="Picture 6"/>
          <p:cNvPicPr>
            <a:picLocks noChangeAspect="1"/>
          </p:cNvPicPr>
          <p:nvPr/>
        </p:nvPicPr>
        <p:blipFill rotWithShape="1">
          <a:blip r:embed="rId4"/>
          <a:srcRect b="41410"/>
          <a:stretch/>
        </p:blipFill>
        <p:spPr>
          <a:xfrm>
            <a:off x="665386" y="2674903"/>
            <a:ext cx="3798051" cy="767957"/>
          </a:xfrm>
          <a:prstGeom prst="rect">
            <a:avLst/>
          </a:prstGeom>
          <a:ln>
            <a:solidFill>
              <a:schemeClr val="bg2"/>
            </a:solidFill>
          </a:ln>
        </p:spPr>
      </p:pic>
      <p:pic>
        <p:nvPicPr>
          <p:cNvPr id="8" name="Picture 7"/>
          <p:cNvPicPr>
            <a:picLocks noChangeAspect="1"/>
          </p:cNvPicPr>
          <p:nvPr/>
        </p:nvPicPr>
        <p:blipFill rotWithShape="1">
          <a:blip r:embed="rId5"/>
          <a:srcRect r="25066" b="41529"/>
          <a:stretch/>
        </p:blipFill>
        <p:spPr>
          <a:xfrm>
            <a:off x="335853" y="3816050"/>
            <a:ext cx="3740303" cy="383408"/>
          </a:xfrm>
          <a:prstGeom prst="rect">
            <a:avLst/>
          </a:prstGeom>
          <a:ln>
            <a:solidFill>
              <a:schemeClr val="bg2"/>
            </a:solidFill>
          </a:ln>
        </p:spPr>
      </p:pic>
      <p:pic>
        <p:nvPicPr>
          <p:cNvPr id="9" name="Picture 8"/>
          <p:cNvPicPr>
            <a:picLocks noChangeAspect="1"/>
          </p:cNvPicPr>
          <p:nvPr/>
        </p:nvPicPr>
        <p:blipFill rotWithShape="1">
          <a:blip r:embed="rId6"/>
          <a:srcRect b="49137"/>
          <a:stretch/>
        </p:blipFill>
        <p:spPr>
          <a:xfrm>
            <a:off x="4577783" y="3476565"/>
            <a:ext cx="5806943" cy="1100817"/>
          </a:xfrm>
          <a:prstGeom prst="rect">
            <a:avLst/>
          </a:prstGeom>
          <a:ln>
            <a:solidFill>
              <a:schemeClr val="bg2"/>
            </a:solidFill>
          </a:ln>
        </p:spPr>
      </p:pic>
      <p:pic>
        <p:nvPicPr>
          <p:cNvPr id="10" name="Picture 9"/>
          <p:cNvPicPr>
            <a:picLocks noChangeAspect="1"/>
          </p:cNvPicPr>
          <p:nvPr/>
        </p:nvPicPr>
        <p:blipFill rotWithShape="1">
          <a:blip r:embed="rId7">
            <a:biLevel thresh="75000"/>
          </a:blip>
          <a:srcRect b="68678"/>
          <a:stretch/>
        </p:blipFill>
        <p:spPr>
          <a:xfrm>
            <a:off x="5561078" y="4953092"/>
            <a:ext cx="4667509" cy="825056"/>
          </a:xfrm>
          <a:prstGeom prst="rect">
            <a:avLst/>
          </a:prstGeom>
          <a:ln>
            <a:solidFill>
              <a:schemeClr val="bg2"/>
            </a:solidFill>
          </a:ln>
        </p:spPr>
      </p:pic>
      <p:pic>
        <p:nvPicPr>
          <p:cNvPr id="11" name="Picture 10"/>
          <p:cNvPicPr>
            <a:picLocks noChangeAspect="1"/>
          </p:cNvPicPr>
          <p:nvPr/>
        </p:nvPicPr>
        <p:blipFill rotWithShape="1">
          <a:blip r:embed="rId8">
            <a:biLevel thresh="75000"/>
          </a:blip>
          <a:srcRect b="62622"/>
          <a:stretch/>
        </p:blipFill>
        <p:spPr>
          <a:xfrm>
            <a:off x="492003" y="1639780"/>
            <a:ext cx="5069075" cy="589418"/>
          </a:xfrm>
          <a:prstGeom prst="rect">
            <a:avLst/>
          </a:prstGeom>
          <a:ln>
            <a:solidFill>
              <a:schemeClr val="bg2"/>
            </a:solidFill>
          </a:ln>
        </p:spPr>
      </p:pic>
      <p:pic>
        <p:nvPicPr>
          <p:cNvPr id="13" name="Picture 12"/>
          <p:cNvPicPr>
            <a:picLocks noChangeAspect="1"/>
          </p:cNvPicPr>
          <p:nvPr/>
        </p:nvPicPr>
        <p:blipFill>
          <a:blip r:embed="rId9"/>
          <a:stretch>
            <a:fillRect/>
          </a:stretch>
        </p:blipFill>
        <p:spPr>
          <a:xfrm>
            <a:off x="513733" y="4659362"/>
            <a:ext cx="4520680" cy="1023862"/>
          </a:xfrm>
          <a:prstGeom prst="rect">
            <a:avLst/>
          </a:prstGeom>
          <a:ln>
            <a:solidFill>
              <a:schemeClr val="bg1"/>
            </a:solidFill>
          </a:ln>
        </p:spPr>
      </p:pic>
    </p:spTree>
    <p:extLst>
      <p:ext uri="{BB962C8B-B14F-4D97-AF65-F5344CB8AC3E}">
        <p14:creationId xmlns:p14="http://schemas.microsoft.com/office/powerpoint/2010/main" val="26839836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 Keine «</a:t>
            </a:r>
            <a:r>
              <a:rPr lang="de-CH" dirty="0" err="1"/>
              <a:t>Fake</a:t>
            </a:r>
            <a:r>
              <a:rPr lang="de-CH" dirty="0"/>
              <a:t> News»:  Täglich mindestens eine Transaktion  </a:t>
            </a:r>
          </a:p>
        </p:txBody>
      </p:sp>
      <p:sp>
        <p:nvSpPr>
          <p:cNvPr id="4" name="Date Placeholder 3"/>
          <p:cNvSpPr>
            <a:spLocks noGrp="1"/>
          </p:cNvSpPr>
          <p:nvPr>
            <p:ph type="dt" sz="half" idx="10"/>
          </p:nvPr>
        </p:nvSpPr>
        <p:spPr/>
        <p:txBody>
          <a:bodyPr/>
          <a:lstStyle/>
          <a:p>
            <a:fld id="{331920D8-7BBD-4173-8CCD-0777969364A1}"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a:t>Unternehmenstransaktionen in der Schweiz</a:t>
            </a:r>
            <a:endParaRPr lang="en-GB" dirty="0"/>
          </a:p>
        </p:txBody>
      </p:sp>
      <p:sp>
        <p:nvSpPr>
          <p:cNvPr id="6" name="Rectangle 3"/>
          <p:cNvSpPr>
            <a:spLocks noChangeArrowheads="1"/>
          </p:cNvSpPr>
          <p:nvPr/>
        </p:nvSpPr>
        <p:spPr bwMode="auto">
          <a:xfrm>
            <a:off x="508398" y="1445400"/>
            <a:ext cx="9878068" cy="5866221"/>
          </a:xfrm>
          <a:prstGeom prst="rect">
            <a:avLst/>
          </a:prstGeom>
          <a:noFill/>
          <a:ln w="9525">
            <a:noFill/>
            <a:miter lim="800000"/>
            <a:headEnd/>
            <a:tailEnd/>
          </a:ln>
        </p:spPr>
        <p:txBody>
          <a:bodyPr wrap="square" lIns="0" tIns="0" rIns="0" bIns="0">
            <a:spAutoFit/>
          </a:bodyPr>
          <a:lstStyle/>
          <a:p>
            <a:pPr defTabSz="1030908" fontAlgn="auto">
              <a:lnSpc>
                <a:spcPct val="120000"/>
              </a:lnSpc>
              <a:spcBef>
                <a:spcPts val="600"/>
              </a:spcBef>
              <a:spcAft>
                <a:spcPts val="600"/>
              </a:spcAft>
              <a:buClr>
                <a:schemeClr val="accent2"/>
              </a:buClr>
              <a:buSzPct val="70000"/>
            </a:pPr>
            <a:r>
              <a:rPr lang="de-DE" sz="2800" dirty="0">
                <a:solidFill>
                  <a:schemeClr val="bg1"/>
                </a:solidFill>
                <a:latin typeface="EYInterstate" pitchFamily="2" charset="0"/>
              </a:rPr>
              <a:t>Rund </a:t>
            </a:r>
            <a:r>
              <a:rPr lang="de-DE" sz="4800" b="1" dirty="0">
                <a:solidFill>
                  <a:srgbClr val="FAE600"/>
                </a:solidFill>
                <a:latin typeface="EYInterstate" pitchFamily="2" charset="0"/>
              </a:rPr>
              <a:t>400 </a:t>
            </a:r>
            <a:r>
              <a:rPr lang="de-DE" sz="2800" dirty="0">
                <a:solidFill>
                  <a:schemeClr val="bg1"/>
                </a:solidFill>
                <a:latin typeface="EYInterstate" pitchFamily="2" charset="0"/>
              </a:rPr>
              <a:t>Transaktionen in der Schweiz im 2017 (+</a:t>
            </a:r>
            <a:r>
              <a:rPr lang="de-DE" sz="4800" b="1" dirty="0">
                <a:solidFill>
                  <a:srgbClr val="FAE600"/>
                </a:solidFill>
                <a:latin typeface="EYInterstate" pitchFamily="2" charset="0"/>
              </a:rPr>
              <a:t>8%</a:t>
            </a:r>
            <a:r>
              <a:rPr lang="de-DE" sz="2800" dirty="0">
                <a:solidFill>
                  <a:schemeClr val="bg1"/>
                </a:solidFill>
                <a:latin typeface="EYInterstate" pitchFamily="2" charset="0"/>
              </a:rPr>
              <a:t>)</a:t>
            </a:r>
          </a:p>
          <a:p>
            <a:pPr defTabSz="1030908" fontAlgn="auto">
              <a:lnSpc>
                <a:spcPct val="120000"/>
              </a:lnSpc>
              <a:spcBef>
                <a:spcPts val="600"/>
              </a:spcBef>
              <a:spcAft>
                <a:spcPts val="600"/>
              </a:spcAft>
              <a:buClr>
                <a:schemeClr val="accent2"/>
              </a:buClr>
              <a:buSzPct val="70000"/>
            </a:pPr>
            <a:r>
              <a:rPr lang="de-DE" sz="2800" dirty="0">
                <a:solidFill>
                  <a:schemeClr val="bg1"/>
                </a:solidFill>
                <a:latin typeface="EYInterstate" pitchFamily="2" charset="0"/>
              </a:rPr>
              <a:t>	</a:t>
            </a:r>
          </a:p>
          <a:p>
            <a:pPr marL="1527175" defTabSz="1030908" fontAlgn="auto">
              <a:lnSpc>
                <a:spcPct val="120000"/>
              </a:lnSpc>
              <a:spcBef>
                <a:spcPts val="600"/>
              </a:spcBef>
              <a:spcAft>
                <a:spcPts val="600"/>
              </a:spcAft>
              <a:buClr>
                <a:schemeClr val="accent2"/>
              </a:buClr>
              <a:buSzPct val="70000"/>
            </a:pPr>
            <a:r>
              <a:rPr lang="de-DE" sz="2800" dirty="0">
                <a:solidFill>
                  <a:schemeClr val="bg1"/>
                </a:solidFill>
                <a:latin typeface="EYInterstate" pitchFamily="2" charset="0"/>
              </a:rPr>
              <a:t>Davon </a:t>
            </a:r>
            <a:r>
              <a:rPr lang="de-DE" sz="4800" b="1" dirty="0">
                <a:solidFill>
                  <a:srgbClr val="FAE600"/>
                </a:solidFill>
                <a:latin typeface="EYInterstate" pitchFamily="2" charset="0"/>
              </a:rPr>
              <a:t>200</a:t>
            </a:r>
            <a:r>
              <a:rPr lang="de-DE" sz="2800" dirty="0">
                <a:solidFill>
                  <a:schemeClr val="bg1"/>
                </a:solidFill>
                <a:latin typeface="EYInterstate" pitchFamily="2" charset="0"/>
              </a:rPr>
              <a:t> Transaktionen im KMU Bereich </a:t>
            </a:r>
          </a:p>
          <a:p>
            <a:pPr marL="3403600" algn="ctr" defTabSz="1030908" fontAlgn="auto">
              <a:lnSpc>
                <a:spcPct val="120000"/>
              </a:lnSpc>
              <a:spcBef>
                <a:spcPts val="600"/>
              </a:spcBef>
              <a:spcAft>
                <a:spcPts val="600"/>
              </a:spcAft>
              <a:buClr>
                <a:schemeClr val="accent2"/>
              </a:buClr>
              <a:buSzPct val="70000"/>
              <a:tabLst>
                <a:tab pos="4121150" algn="l"/>
              </a:tabLst>
            </a:pPr>
            <a:endParaRPr lang="de-DE" sz="4800" b="1" dirty="0">
              <a:solidFill>
                <a:srgbClr val="FAE600"/>
              </a:solidFill>
              <a:latin typeface="EYInterstate" pitchFamily="2" charset="0"/>
            </a:endParaRPr>
          </a:p>
          <a:p>
            <a:pPr marL="3403600" algn="ctr" defTabSz="1030908" fontAlgn="auto">
              <a:lnSpc>
                <a:spcPct val="120000"/>
              </a:lnSpc>
              <a:spcBef>
                <a:spcPts val="600"/>
              </a:spcBef>
              <a:spcAft>
                <a:spcPts val="600"/>
              </a:spcAft>
              <a:buClr>
                <a:schemeClr val="accent2"/>
              </a:buClr>
              <a:buSzPct val="70000"/>
              <a:tabLst>
                <a:tab pos="4121150" algn="l"/>
              </a:tabLst>
            </a:pPr>
            <a:r>
              <a:rPr lang="de-DE" sz="4800" b="1" dirty="0">
                <a:solidFill>
                  <a:srgbClr val="FAE600"/>
                </a:solidFill>
                <a:latin typeface="EYInterstate" pitchFamily="2" charset="0"/>
              </a:rPr>
              <a:t>73</a:t>
            </a:r>
            <a:r>
              <a:rPr lang="de-DE" sz="2800" dirty="0">
                <a:solidFill>
                  <a:schemeClr val="bg1"/>
                </a:solidFill>
                <a:latin typeface="EYInterstate" pitchFamily="2" charset="0"/>
              </a:rPr>
              <a:t>% der Transaktionen waren grenzüberschreitend </a:t>
            </a:r>
          </a:p>
          <a:p>
            <a:pPr marL="342900" indent="-342900" defTabSz="1030908" fontAlgn="auto">
              <a:lnSpc>
                <a:spcPct val="120000"/>
              </a:lnSpc>
              <a:spcBef>
                <a:spcPts val="600"/>
              </a:spcBef>
              <a:spcAft>
                <a:spcPts val="600"/>
              </a:spcAft>
              <a:buClr>
                <a:schemeClr val="accent2"/>
              </a:buClr>
              <a:buSzPct val="70000"/>
              <a:buFont typeface="Arial" panose="020B0604020202020204" pitchFamily="34" charset="0"/>
              <a:buChar char="•"/>
            </a:pPr>
            <a:endParaRPr lang="de-DE" sz="2800" dirty="0">
              <a:solidFill>
                <a:schemeClr val="bg1"/>
              </a:solidFill>
              <a:latin typeface="EYInterstate" pitchFamily="2" charset="0"/>
            </a:endParaRPr>
          </a:p>
        </p:txBody>
      </p:sp>
    </p:spTree>
    <p:extLst>
      <p:ext uri="{BB962C8B-B14F-4D97-AF65-F5344CB8AC3E}">
        <p14:creationId xmlns:p14="http://schemas.microsoft.com/office/powerpoint/2010/main" val="24842691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Motivation für eine Transaktion </a:t>
            </a:r>
          </a:p>
        </p:txBody>
      </p:sp>
      <p:sp>
        <p:nvSpPr>
          <p:cNvPr id="4" name="Date Placeholder 3"/>
          <p:cNvSpPr>
            <a:spLocks noGrp="1"/>
          </p:cNvSpPr>
          <p:nvPr>
            <p:ph type="dt" sz="half" idx="10"/>
          </p:nvPr>
        </p:nvSpPr>
        <p:spPr/>
        <p:txBody>
          <a:bodyPr/>
          <a:lstStyle/>
          <a:p>
            <a:fld id="{331920D8-7BBD-4173-8CCD-0777969364A1}"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a:t>Unternehmenstransaktionen in der Schweiz</a:t>
            </a:r>
            <a:endParaRPr lang="en-GB" dirty="0"/>
          </a:p>
        </p:txBody>
      </p:sp>
      <p:sp>
        <p:nvSpPr>
          <p:cNvPr id="6" name="TextBox 5"/>
          <p:cNvSpPr txBox="1">
            <a:spLocks/>
          </p:cNvSpPr>
          <p:nvPr/>
        </p:nvSpPr>
        <p:spPr>
          <a:xfrm>
            <a:off x="888456" y="1907629"/>
            <a:ext cx="8561905" cy="4377582"/>
          </a:xfrm>
          <a:prstGeom prst="rect">
            <a:avLst/>
          </a:prstGeom>
          <a:solidFill>
            <a:schemeClr val="accent2"/>
          </a:solidFill>
        </p:spPr>
        <p:txBody>
          <a:bodyPr wrap="square" lIns="0" tIns="36576" rIns="0" bIns="0" rtlCol="0" anchor="ctr" anchorCtr="1">
            <a:noAutofit/>
          </a:bodyPr>
          <a:lstStyle/>
          <a:p>
            <a:pPr algn="ctr">
              <a:lnSpc>
                <a:spcPct val="85000"/>
              </a:lnSpc>
              <a:spcAft>
                <a:spcPts val="600"/>
              </a:spcAft>
              <a:buClr>
                <a:schemeClr val="accent2"/>
              </a:buClr>
              <a:buSzPct val="70000"/>
            </a:pPr>
            <a:r>
              <a:rPr lang="de-CH" sz="8800" b="1" dirty="0" err="1">
                <a:solidFill>
                  <a:schemeClr val="bg1"/>
                </a:solidFill>
              </a:rPr>
              <a:t>Good</a:t>
            </a:r>
            <a:r>
              <a:rPr lang="de-CH" sz="8800" b="1" dirty="0">
                <a:solidFill>
                  <a:schemeClr val="bg1"/>
                </a:solidFill>
              </a:rPr>
              <a:t> </a:t>
            </a:r>
            <a:r>
              <a:rPr lang="de-CH" sz="8800" b="1" dirty="0" err="1">
                <a:solidFill>
                  <a:schemeClr val="bg1"/>
                </a:solidFill>
              </a:rPr>
              <a:t>Buy</a:t>
            </a:r>
            <a:r>
              <a:rPr lang="de-CH" sz="8800" b="1" dirty="0">
                <a:solidFill>
                  <a:schemeClr val="bg1"/>
                </a:solidFill>
              </a:rPr>
              <a:t> </a:t>
            </a:r>
            <a:br>
              <a:rPr lang="de-CH" sz="8800" b="1" dirty="0">
                <a:solidFill>
                  <a:schemeClr val="bg1"/>
                </a:solidFill>
              </a:rPr>
            </a:br>
            <a:r>
              <a:rPr lang="de-CH" sz="8800" b="1" dirty="0">
                <a:solidFill>
                  <a:schemeClr val="bg1"/>
                </a:solidFill>
              </a:rPr>
              <a:t>oder </a:t>
            </a:r>
            <a:br>
              <a:rPr lang="de-CH" sz="8800" b="1" dirty="0">
                <a:solidFill>
                  <a:schemeClr val="bg1"/>
                </a:solidFill>
              </a:rPr>
            </a:br>
            <a:r>
              <a:rPr lang="de-CH" sz="8800" b="1" dirty="0">
                <a:solidFill>
                  <a:schemeClr val="bg1"/>
                </a:solidFill>
              </a:rPr>
              <a:t>Goodbye ? </a:t>
            </a:r>
          </a:p>
        </p:txBody>
      </p:sp>
    </p:spTree>
    <p:extLst>
      <p:ext uri="{BB962C8B-B14F-4D97-AF65-F5344CB8AC3E}">
        <p14:creationId xmlns:p14="http://schemas.microsoft.com/office/powerpoint/2010/main" val="15427615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Typische Beobachtungen beim Verkäufer</a:t>
            </a:r>
            <a:br>
              <a:rPr lang="de-CH" dirty="0"/>
            </a:br>
            <a:r>
              <a:rPr lang="de-CH" dirty="0"/>
              <a:t>- der </a:t>
            </a:r>
            <a:r>
              <a:rPr lang="de-CH" dirty="0" err="1"/>
              <a:t>Hockeystick</a:t>
            </a:r>
            <a:r>
              <a:rPr lang="de-CH" dirty="0"/>
              <a:t> </a:t>
            </a:r>
          </a:p>
        </p:txBody>
      </p:sp>
      <p:sp>
        <p:nvSpPr>
          <p:cNvPr id="4" name="Date Placeholder 3"/>
          <p:cNvSpPr>
            <a:spLocks noGrp="1"/>
          </p:cNvSpPr>
          <p:nvPr>
            <p:ph type="dt" sz="half" idx="10"/>
          </p:nvPr>
        </p:nvSpPr>
        <p:spPr/>
        <p:txBody>
          <a:bodyPr/>
          <a:lstStyle/>
          <a:p>
            <a:fld id="{331920D8-7BBD-4173-8CCD-0777969364A1}"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a:t>Unternehmenstransaktionen in der Schweiz</a:t>
            </a:r>
            <a:endParaRPr lang="en-GB" dirty="0"/>
          </a:p>
        </p:txBody>
      </p:sp>
      <p:pic>
        <p:nvPicPr>
          <p:cNvPr id="6" name="Picture 4" descr="Image result for hockeystickman"/>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1482590" y="1571625"/>
            <a:ext cx="7726632" cy="5180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40934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Typische Beobachtungen beim Verkäufer</a:t>
            </a:r>
            <a:br>
              <a:rPr lang="de-CH" dirty="0"/>
            </a:br>
            <a:r>
              <a:rPr lang="de-CH" dirty="0"/>
              <a:t>- Zahlen und Story stimmen nicht überein</a:t>
            </a:r>
          </a:p>
        </p:txBody>
      </p:sp>
      <p:sp>
        <p:nvSpPr>
          <p:cNvPr id="4" name="Date Placeholder 3"/>
          <p:cNvSpPr>
            <a:spLocks noGrp="1"/>
          </p:cNvSpPr>
          <p:nvPr>
            <p:ph type="dt" sz="half" idx="10"/>
          </p:nvPr>
        </p:nvSpPr>
        <p:spPr/>
        <p:txBody>
          <a:bodyPr/>
          <a:lstStyle/>
          <a:p>
            <a:fld id="{331920D8-7BBD-4173-8CCD-0777969364A1}"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a:t>Unternehmenstransaktionen in der Schweiz</a:t>
            </a:r>
            <a:endParaRPr lang="en-GB" dirty="0"/>
          </a:p>
        </p:txBody>
      </p:sp>
      <p:pic>
        <p:nvPicPr>
          <p:cNvPr id="6" name="Picture 5"/>
          <p:cNvPicPr>
            <a:picLocks noChangeAspect="1"/>
          </p:cNvPicPr>
          <p:nvPr/>
        </p:nvPicPr>
        <p:blipFill>
          <a:blip r:embed="rId3"/>
          <a:stretch>
            <a:fillRect/>
          </a:stretch>
        </p:blipFill>
        <p:spPr>
          <a:xfrm>
            <a:off x="460720" y="1692399"/>
            <a:ext cx="9698010" cy="4320480"/>
          </a:xfrm>
          <a:prstGeom prst="rect">
            <a:avLst/>
          </a:prstGeom>
        </p:spPr>
      </p:pic>
    </p:spTree>
    <p:extLst>
      <p:ext uri="{BB962C8B-B14F-4D97-AF65-F5344CB8AC3E}">
        <p14:creationId xmlns:p14="http://schemas.microsoft.com/office/powerpoint/2010/main" val="28090548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Typische Beobachtungen beim Verkäufer</a:t>
            </a:r>
            <a:br>
              <a:rPr lang="de-CH" dirty="0"/>
            </a:br>
            <a:r>
              <a:rPr lang="de-CH" dirty="0"/>
              <a:t>Unterschätzen der Vorbereitung und des Prozesses</a:t>
            </a:r>
          </a:p>
        </p:txBody>
      </p:sp>
      <p:sp>
        <p:nvSpPr>
          <p:cNvPr id="4" name="Date Placeholder 3"/>
          <p:cNvSpPr>
            <a:spLocks noGrp="1"/>
          </p:cNvSpPr>
          <p:nvPr>
            <p:ph type="dt" sz="half" idx="10"/>
          </p:nvPr>
        </p:nvSpPr>
        <p:spPr/>
        <p:txBody>
          <a:bodyPr/>
          <a:lstStyle/>
          <a:p>
            <a:fld id="{331920D8-7BBD-4173-8CCD-0777969364A1}"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a:t>Unternehmenstransaktionen in der Schweiz</a:t>
            </a:r>
            <a:endParaRPr lang="en-GB" dirty="0"/>
          </a:p>
        </p:txBody>
      </p:sp>
      <p:pic>
        <p:nvPicPr>
          <p:cNvPr id="6" name="Picture 2" descr="Image result for einer gegen all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0644" y="1764407"/>
            <a:ext cx="9383846" cy="43204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25116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dirty="0"/>
              <a:t>Typische Beobachtungen beim Käufer</a:t>
            </a:r>
            <a:br>
              <a:rPr lang="de-CH" dirty="0"/>
            </a:br>
            <a:r>
              <a:rPr lang="de-CH" dirty="0"/>
              <a:t>«Deal» Fieber</a:t>
            </a:r>
          </a:p>
        </p:txBody>
      </p:sp>
      <p:sp>
        <p:nvSpPr>
          <p:cNvPr id="4" name="Date Placeholder 3"/>
          <p:cNvSpPr>
            <a:spLocks noGrp="1"/>
          </p:cNvSpPr>
          <p:nvPr>
            <p:ph type="dt" sz="half" idx="10"/>
          </p:nvPr>
        </p:nvSpPr>
        <p:spPr/>
        <p:txBody>
          <a:bodyPr/>
          <a:lstStyle/>
          <a:p>
            <a:fld id="{331920D8-7BBD-4173-8CCD-0777969364A1}" type="datetime3">
              <a:rPr lang="en-US" smtClean="0"/>
              <a:t>19 March 2018</a:t>
            </a:fld>
            <a:endParaRPr lang="en-US" dirty="0"/>
          </a:p>
        </p:txBody>
      </p:sp>
      <p:sp>
        <p:nvSpPr>
          <p:cNvPr id="5" name="Footer Placeholder 4"/>
          <p:cNvSpPr>
            <a:spLocks noGrp="1"/>
          </p:cNvSpPr>
          <p:nvPr>
            <p:ph type="ftr" sz="quarter" idx="11"/>
          </p:nvPr>
        </p:nvSpPr>
        <p:spPr/>
        <p:txBody>
          <a:bodyPr/>
          <a:lstStyle/>
          <a:p>
            <a:r>
              <a:rPr lang="en-GB"/>
              <a:t>Unternehmenstransaktionen in der Schweiz</a:t>
            </a:r>
            <a:endParaRPr lang="en-GB" dirty="0"/>
          </a:p>
        </p:txBody>
      </p:sp>
      <p:pic>
        <p:nvPicPr>
          <p:cNvPr id="4098" name="Picture 2" descr="Image result for thermomete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329682" y="2123653"/>
            <a:ext cx="3901629" cy="3901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7357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GSA A4 presentation 2016.pptx" id="{B943D20D-0702-49AD-906F-6E313A33283F}" vid="{B6B8BFB7-D35B-4C05-8617-63489DB39EB2}"/>
    </a:ext>
  </a:extLst>
</a:theme>
</file>

<file path=ppt/theme/theme2.xml><?xml version="1.0" encoding="utf-8"?>
<a:theme xmlns:a="http://schemas.openxmlformats.org/drawingml/2006/main" name="EY light projection">
  <a:themeElements>
    <a:clrScheme name="EY light projection">
      <a:dk1>
        <a:srgbClr val="000000"/>
      </a:dk1>
      <a:lt1>
        <a:srgbClr val="646464"/>
      </a:lt1>
      <a:dk2>
        <a:srgbClr val="FFFFFF"/>
      </a:dk2>
      <a:lt2>
        <a:srgbClr val="646464"/>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GSA A4 presentation 2016.pptx" id="{B943D20D-0702-49AD-906F-6E313A33283F}" vid="{00AF7995-7841-4D52-957E-DE9A645A1928}"/>
    </a:ext>
  </a:extLst>
</a:theme>
</file>

<file path=ppt/theme/theme3.xml><?xml version="1.0" encoding="utf-8"?>
<a:theme xmlns:a="http://schemas.openxmlformats.org/drawingml/2006/main" name="EY dark print">
  <a:themeElements>
    <a:clrScheme name="EY dark print">
      <a:dk1>
        <a:srgbClr val="FFFFFF"/>
      </a:dk1>
      <a:lt1>
        <a:srgbClr val="FFFFFF"/>
      </a:lt1>
      <a:dk2>
        <a:srgbClr val="333333"/>
      </a:dk2>
      <a:lt2>
        <a:srgbClr val="FFE60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GSA A4 presentation 2016.pptx" id="{B943D20D-0702-49AD-906F-6E313A33283F}" vid="{5A29F950-BEB0-4A4E-B7A3-96FCEC8167B6}"/>
    </a:ext>
  </a:extLst>
</a:theme>
</file>

<file path=ppt/theme/theme4.xml><?xml version="1.0" encoding="utf-8"?>
<a:theme xmlns:a="http://schemas.openxmlformats.org/drawingml/2006/main" name="EY dark projection">
  <a:themeElements>
    <a:clrScheme name="EY dark projection">
      <a:dk1>
        <a:srgbClr val="FFFFFF"/>
      </a:dk1>
      <a:lt1>
        <a:srgbClr val="FFFFFF"/>
      </a:lt1>
      <a:dk2>
        <a:srgbClr val="333333"/>
      </a:dk2>
      <a:lt2>
        <a:srgbClr val="FFD20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baseline="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EY GSA A4 presentation 2016.pptx" id="{B943D20D-0702-49AD-906F-6E313A33283F}" vid="{18E00B55-40BE-473A-B482-A851BD7D640F}"/>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Y GSA A4 presentation 2017</Template>
  <TotalTime>0</TotalTime>
  <Words>442</Words>
  <Application>Microsoft Office PowerPoint</Application>
  <PresentationFormat>Benutzerdefiniert</PresentationFormat>
  <Paragraphs>125</Paragraphs>
  <Slides>13</Slides>
  <Notes>11</Notes>
  <HiddenSlides>0</HiddenSlides>
  <MMClips>0</MMClips>
  <ScaleCrop>false</ScaleCrop>
  <HeadingPairs>
    <vt:vector size="8" baseType="variant">
      <vt:variant>
        <vt:lpstr>Verwendete Schriftarten</vt:lpstr>
      </vt:variant>
      <vt:variant>
        <vt:i4>3</vt:i4>
      </vt:variant>
      <vt:variant>
        <vt:lpstr>Design</vt:lpstr>
      </vt:variant>
      <vt:variant>
        <vt:i4>4</vt:i4>
      </vt:variant>
      <vt:variant>
        <vt:lpstr>Eingebettete OLE-Server</vt:lpstr>
      </vt:variant>
      <vt:variant>
        <vt:i4>1</vt:i4>
      </vt:variant>
      <vt:variant>
        <vt:lpstr>Folientitel</vt:lpstr>
      </vt:variant>
      <vt:variant>
        <vt:i4>13</vt:i4>
      </vt:variant>
    </vt:vector>
  </HeadingPairs>
  <TitlesOfParts>
    <vt:vector size="21" baseType="lpstr">
      <vt:lpstr>Arial</vt:lpstr>
      <vt:lpstr>EYInterstate</vt:lpstr>
      <vt:lpstr>EYInterstate Light</vt:lpstr>
      <vt:lpstr>EY regular presentation 2015 v1</vt:lpstr>
      <vt:lpstr>EY light projection</vt:lpstr>
      <vt:lpstr>EY dark print</vt:lpstr>
      <vt:lpstr>EY dark projection</vt:lpstr>
      <vt:lpstr>think-cell Slide</vt:lpstr>
      <vt:lpstr>PowerPoint-Präsentation</vt:lpstr>
      <vt:lpstr>Vorstellung Urs Indermühle / EY</vt:lpstr>
      <vt:lpstr>M&amp;A Transaktionen sind fast täglich in unserer Presse zu finden… </vt:lpstr>
      <vt:lpstr>… Keine «Fake News»:  Täglich mindestens eine Transaktion  </vt:lpstr>
      <vt:lpstr>Motivation für eine Transaktion </vt:lpstr>
      <vt:lpstr>Typische Beobachtungen beim Verkäufer - der Hockeystick </vt:lpstr>
      <vt:lpstr>Typische Beobachtungen beim Verkäufer - Zahlen und Story stimmen nicht überein</vt:lpstr>
      <vt:lpstr>Typische Beobachtungen beim Verkäufer Unterschätzen der Vorbereitung und des Prozesses</vt:lpstr>
      <vt:lpstr>Typische Beobachtungen beim Käufer «Deal» Fieber</vt:lpstr>
      <vt:lpstr>Typische Beobachtungen beim Käufer Integration ist Top Priorität (v.a. Mitarbeiter / Kultur)</vt:lpstr>
      <vt:lpstr>Schlüsselfaktoren für den Erfolg einer Transaktion</vt:lpstr>
      <vt:lpstr>PowerPoint-Präsentation</vt:lpstr>
      <vt:lpstr>PowerPoint-Prä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cp:lastModifiedBy/>
  <cp:revision>1</cp:revision>
  <dcterms:created xsi:type="dcterms:W3CDTF">2018-02-27T11:18:38Z</dcterms:created>
  <dcterms:modified xsi:type="dcterms:W3CDTF">2018-03-19T22:20:35Z</dcterms:modified>
  <cp:contentStatus/>
</cp:coreProperties>
</file>